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4"/>
  </p:sldMasterIdLst>
  <p:notesMasterIdLst>
    <p:notesMasterId r:id="rId9"/>
  </p:notesMasterIdLst>
  <p:sldIdLst>
    <p:sldId id="998" r:id="rId5"/>
    <p:sldId id="1010" r:id="rId6"/>
    <p:sldId id="1012" r:id="rId7"/>
    <p:sldId id="1011" r:id="rId8"/>
  </p:sldIdLst>
  <p:sldSz cx="9906000" cy="6858000" type="A4"/>
  <p:notesSz cx="9866313" cy="6735763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1296" userDrawn="1">
          <p15:clr>
            <a:srgbClr val="A4A3A4"/>
          </p15:clr>
        </p15:guide>
        <p15:guide id="3" pos="288" userDrawn="1">
          <p15:clr>
            <a:srgbClr val="A4A3A4"/>
          </p15:clr>
        </p15:guide>
        <p15:guide id="4" orient="horz" pos="720" userDrawn="1">
          <p15:clr>
            <a:srgbClr val="A4A3A4"/>
          </p15:clr>
        </p15:guide>
        <p15:guide id="5" pos="5952" userDrawn="1">
          <p15:clr>
            <a:srgbClr val="A4A3A4"/>
          </p15:clr>
        </p15:guide>
        <p15:guide id="6" orient="horz" pos="3744" userDrawn="1">
          <p15:clr>
            <a:srgbClr val="A4A3A4"/>
          </p15:clr>
        </p15:guide>
        <p15:guide id="7" orient="horz" pos="19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833399D-24CA-0C9F-5594-99F0F91A34B1}" name="佐藤 学" initials="佐藤" userId="S::sato.manabu@prezen.jp::413cc9b9-5238-4e47-9dd2-6f14a7a0450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C755"/>
    <a:srgbClr val="C00000"/>
    <a:srgbClr val="EEEEEE"/>
    <a:srgbClr val="E8E8E8"/>
    <a:srgbClr val="D22C25"/>
    <a:srgbClr val="38D277"/>
    <a:srgbClr val="6DAC2E"/>
    <a:srgbClr val="F7D4D2"/>
    <a:srgbClr val="FCDDB4"/>
    <a:srgbClr val="537F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F786DE9-F405-4670-AF02-4DF9B8BCA370}" v="291" dt="2023-07-07T00:00:14.84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39" autoAdjust="0"/>
    <p:restoredTop sz="87913" autoAdjust="0"/>
  </p:normalViewPr>
  <p:slideViewPr>
    <p:cSldViewPr>
      <p:cViewPr varScale="1">
        <p:scale>
          <a:sx n="97" d="100"/>
          <a:sy n="97" d="100"/>
        </p:scale>
        <p:origin x="1205" y="77"/>
      </p:cViewPr>
      <p:guideLst>
        <p:guide orient="horz" pos="1296"/>
        <p:guide pos="288"/>
        <p:guide orient="horz" pos="720"/>
        <p:guide pos="5952"/>
        <p:guide orient="horz" pos="3744"/>
        <p:guide orient="horz" pos="192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10" d="100"/>
        <a:sy n="110" d="100"/>
      </p:scale>
      <p:origin x="0" y="-34044"/>
    </p:cViewPr>
  </p:sorterViewPr>
  <p:notesViewPr>
    <p:cSldViewPr>
      <p:cViewPr varScale="1">
        <p:scale>
          <a:sx n="215" d="100"/>
          <a:sy n="215" d="100"/>
        </p:scale>
        <p:origin x="1104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73" Type="http://schemas.microsoft.com/office/2018/10/relationships/authors" Target="authors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72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5402" cy="338348"/>
          </a:xfrm>
          <a:prstGeom prst="rect">
            <a:avLst/>
          </a:prstGeom>
        </p:spPr>
        <p:txBody>
          <a:bodyPr vert="horz" lIns="90553" tIns="45277" rIns="90553" bIns="45277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5589330" y="0"/>
            <a:ext cx="4275402" cy="338348"/>
          </a:xfrm>
          <a:prstGeom prst="rect">
            <a:avLst/>
          </a:prstGeom>
        </p:spPr>
        <p:txBody>
          <a:bodyPr vert="horz" lIns="90553" tIns="45277" rIns="90553" bIns="45277" rtlCol="0"/>
          <a:lstStyle>
            <a:lvl1pPr algn="r">
              <a:defRPr sz="1200"/>
            </a:lvl1pPr>
          </a:lstStyle>
          <a:p>
            <a:fld id="{BADA3CFA-C3A8-1946-9FE9-13010DE32B83}" type="datetimeFigureOut">
              <a:rPr kumimoji="1" lang="ja-JP" altLang="en-US" smtClean="0"/>
              <a:t>2023/8/2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3290888" y="841375"/>
            <a:ext cx="3284537" cy="22733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553" tIns="45277" rIns="90553" bIns="45277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986632" y="3241587"/>
            <a:ext cx="7893050" cy="2652206"/>
          </a:xfrm>
          <a:prstGeom prst="rect">
            <a:avLst/>
          </a:prstGeom>
        </p:spPr>
        <p:txBody>
          <a:bodyPr vert="horz" lIns="90553" tIns="45277" rIns="90553" bIns="45277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6397417"/>
            <a:ext cx="4275402" cy="338347"/>
          </a:xfrm>
          <a:prstGeom prst="rect">
            <a:avLst/>
          </a:prstGeom>
        </p:spPr>
        <p:txBody>
          <a:bodyPr vert="horz" lIns="90553" tIns="45277" rIns="90553" bIns="45277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5589330" y="6397417"/>
            <a:ext cx="4275402" cy="338347"/>
          </a:xfrm>
          <a:prstGeom prst="rect">
            <a:avLst/>
          </a:prstGeom>
        </p:spPr>
        <p:txBody>
          <a:bodyPr vert="horz" lIns="90553" tIns="45277" rIns="90553" bIns="45277" rtlCol="0" anchor="b"/>
          <a:lstStyle>
            <a:lvl1pPr algn="r">
              <a:defRPr sz="1200"/>
            </a:lvl1pPr>
          </a:lstStyle>
          <a:p>
            <a:fld id="{B6A48377-457D-1944-90DA-9AAAD046378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986695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本文（会社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8C6A2519-A03D-D00A-9D17-59D691A40FE6}"/>
              </a:ext>
            </a:extLst>
          </p:cNvPr>
          <p:cNvGrpSpPr/>
          <p:nvPr userDrawn="1"/>
        </p:nvGrpSpPr>
        <p:grpSpPr>
          <a:xfrm>
            <a:off x="9016586" y="6347876"/>
            <a:ext cx="889414" cy="510124"/>
            <a:chOff x="9016586" y="6347876"/>
            <a:chExt cx="889414" cy="510124"/>
          </a:xfrm>
        </p:grpSpPr>
        <p:sp>
          <p:nvSpPr>
            <p:cNvPr id="11" name="フリーフォーム: 図形 10">
              <a:extLst>
                <a:ext uri="{FF2B5EF4-FFF2-40B4-BE49-F238E27FC236}">
                  <a16:creationId xmlns:a16="http://schemas.microsoft.com/office/drawing/2014/main" id="{82AF1EE1-4B00-A268-1CDC-C8B02CADF81A}"/>
                </a:ext>
              </a:extLst>
            </p:cNvPr>
            <p:cNvSpPr/>
            <p:nvPr userDrawn="1"/>
          </p:nvSpPr>
          <p:spPr>
            <a:xfrm>
              <a:off x="9016586" y="6347876"/>
              <a:ext cx="889414" cy="510124"/>
            </a:xfrm>
            <a:custGeom>
              <a:avLst/>
              <a:gdLst>
                <a:gd name="connsiteX0" fmla="*/ 889414 w 889414"/>
                <a:gd name="connsiteY0" fmla="*/ 0 h 510124"/>
                <a:gd name="connsiteX1" fmla="*/ 889414 w 889414"/>
                <a:gd name="connsiteY1" fmla="*/ 348905 h 510124"/>
                <a:gd name="connsiteX2" fmla="*/ 877780 w 889414"/>
                <a:gd name="connsiteY2" fmla="*/ 365216 h 510124"/>
                <a:gd name="connsiteX3" fmla="*/ 832051 w 889414"/>
                <a:gd name="connsiteY3" fmla="*/ 404264 h 510124"/>
                <a:gd name="connsiteX4" fmla="*/ 637522 w 889414"/>
                <a:gd name="connsiteY4" fmla="*/ 493174 h 510124"/>
                <a:gd name="connsiteX5" fmla="*/ 581303 w 889414"/>
                <a:gd name="connsiteY5" fmla="*/ 510124 h 510124"/>
                <a:gd name="connsiteX6" fmla="*/ 0 w 889414"/>
                <a:gd name="connsiteY6" fmla="*/ 510124 h 510124"/>
                <a:gd name="connsiteX7" fmla="*/ 3704 w 889414"/>
                <a:gd name="connsiteY7" fmla="*/ 482429 h 510124"/>
                <a:gd name="connsiteX8" fmla="*/ 105648 w 889414"/>
                <a:gd name="connsiteY8" fmla="*/ 340026 h 510124"/>
                <a:gd name="connsiteX9" fmla="*/ 468809 w 889414"/>
                <a:gd name="connsiteY9" fmla="*/ 205240 h 510124"/>
                <a:gd name="connsiteX10" fmla="*/ 719248 w 889414"/>
                <a:gd name="connsiteY10" fmla="*/ 133797 h 510124"/>
                <a:gd name="connsiteX11" fmla="*/ 875824 w 889414"/>
                <a:gd name="connsiteY11" fmla="*/ 22473 h 51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414" h="510124">
                  <a:moveTo>
                    <a:pt x="889414" y="0"/>
                  </a:moveTo>
                  <a:lnTo>
                    <a:pt x="889414" y="348905"/>
                  </a:lnTo>
                  <a:lnTo>
                    <a:pt x="877780" y="365216"/>
                  </a:lnTo>
                  <a:cubicBezTo>
                    <a:pt x="864351" y="379897"/>
                    <a:pt x="849037" y="393043"/>
                    <a:pt x="832051" y="404264"/>
                  </a:cubicBezTo>
                  <a:cubicBezTo>
                    <a:pt x="832051" y="404264"/>
                    <a:pt x="776957" y="447016"/>
                    <a:pt x="637522" y="493174"/>
                  </a:cubicBezTo>
                  <a:lnTo>
                    <a:pt x="581303" y="510124"/>
                  </a:lnTo>
                  <a:lnTo>
                    <a:pt x="0" y="510124"/>
                  </a:lnTo>
                  <a:lnTo>
                    <a:pt x="3704" y="482429"/>
                  </a:lnTo>
                  <a:cubicBezTo>
                    <a:pt x="18817" y="424692"/>
                    <a:pt x="54722" y="373697"/>
                    <a:pt x="105648" y="340026"/>
                  </a:cubicBezTo>
                  <a:cubicBezTo>
                    <a:pt x="105648" y="340026"/>
                    <a:pt x="203593" y="264023"/>
                    <a:pt x="468809" y="205240"/>
                  </a:cubicBezTo>
                  <a:cubicBezTo>
                    <a:pt x="553768" y="186941"/>
                    <a:pt x="637423" y="163078"/>
                    <a:pt x="719248" y="133797"/>
                  </a:cubicBezTo>
                  <a:cubicBezTo>
                    <a:pt x="762755" y="115096"/>
                    <a:pt x="826409" y="89828"/>
                    <a:pt x="875824" y="22473"/>
                  </a:cubicBezTo>
                  <a:close/>
                </a:path>
              </a:pathLst>
            </a:custGeom>
            <a:solidFill>
              <a:schemeClr val="accent1"/>
            </a:solidFill>
            <a:ln w="5002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ja-JP" altLang="en-US"/>
            </a:p>
          </p:txBody>
        </p:sp>
        <p:sp>
          <p:nvSpPr>
            <p:cNvPr id="7" name="二等辺三角形 6">
              <a:extLst>
                <a:ext uri="{FF2B5EF4-FFF2-40B4-BE49-F238E27FC236}">
                  <a16:creationId xmlns:a16="http://schemas.microsoft.com/office/drawing/2014/main" id="{2DC3EAD9-3430-4652-084B-6900A40A2EBD}"/>
                </a:ext>
              </a:extLst>
            </p:cNvPr>
            <p:cNvSpPr/>
            <p:nvPr userDrawn="1"/>
          </p:nvSpPr>
          <p:spPr>
            <a:xfrm rot="16200000">
              <a:off x="9603569" y="6555569"/>
              <a:ext cx="244473" cy="36038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84B275D0-D13A-6E88-B566-36E8D792BDB2}"/>
              </a:ext>
            </a:extLst>
          </p:cNvPr>
          <p:cNvGrpSpPr/>
          <p:nvPr userDrawn="1"/>
        </p:nvGrpSpPr>
        <p:grpSpPr>
          <a:xfrm>
            <a:off x="0" y="0"/>
            <a:ext cx="579585" cy="333921"/>
            <a:chOff x="0" y="0"/>
            <a:chExt cx="579585" cy="333921"/>
          </a:xfrm>
        </p:grpSpPr>
        <p:sp>
          <p:nvSpPr>
            <p:cNvPr id="10" name="フリーフォーム: 図形 9">
              <a:extLst>
                <a:ext uri="{FF2B5EF4-FFF2-40B4-BE49-F238E27FC236}">
                  <a16:creationId xmlns:a16="http://schemas.microsoft.com/office/drawing/2014/main" id="{1A205E2B-19AD-A45C-1DAA-F9BFA8C65EB1}"/>
                </a:ext>
              </a:extLst>
            </p:cNvPr>
            <p:cNvSpPr/>
            <p:nvPr userDrawn="1"/>
          </p:nvSpPr>
          <p:spPr>
            <a:xfrm>
              <a:off x="0" y="0"/>
              <a:ext cx="579585" cy="333921"/>
            </a:xfrm>
            <a:custGeom>
              <a:avLst/>
              <a:gdLst>
                <a:gd name="connsiteX0" fmla="*/ 186910 w 579585"/>
                <a:gd name="connsiteY0" fmla="*/ 0 h 333921"/>
                <a:gd name="connsiteX1" fmla="*/ 579585 w 579585"/>
                <a:gd name="connsiteY1" fmla="*/ 0 h 333921"/>
                <a:gd name="connsiteX2" fmla="*/ 567177 w 579585"/>
                <a:gd name="connsiteY2" fmla="*/ 47805 h 333921"/>
                <a:gd name="connsiteX3" fmla="*/ 515006 w 579585"/>
                <a:gd name="connsiteY3" fmla="*/ 104633 h 333921"/>
                <a:gd name="connsiteX4" fmla="*/ 278605 w 579585"/>
                <a:gd name="connsiteY4" fmla="*/ 192346 h 333921"/>
                <a:gd name="connsiteX5" fmla="*/ 115581 w 579585"/>
                <a:gd name="connsiteY5" fmla="*/ 238879 h 333921"/>
                <a:gd name="connsiteX6" fmla="*/ 13649 w 579585"/>
                <a:gd name="connsiteY6" fmla="*/ 311346 h 333921"/>
                <a:gd name="connsiteX7" fmla="*/ 0 w 579585"/>
                <a:gd name="connsiteY7" fmla="*/ 333921 h 333921"/>
                <a:gd name="connsiteX8" fmla="*/ 0 w 579585"/>
                <a:gd name="connsiteY8" fmla="*/ 105625 h 333921"/>
                <a:gd name="connsiteX9" fmla="*/ 12398 w 579585"/>
                <a:gd name="connsiteY9" fmla="*/ 88239 h 333921"/>
                <a:gd name="connsiteX10" fmla="*/ 42151 w 579585"/>
                <a:gd name="connsiteY10" fmla="*/ 62817 h 333921"/>
                <a:gd name="connsiteX11" fmla="*/ 168780 w 579585"/>
                <a:gd name="connsiteY11" fmla="*/ 4930 h 333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585" h="333921">
                  <a:moveTo>
                    <a:pt x="186910" y="0"/>
                  </a:moveTo>
                  <a:lnTo>
                    <a:pt x="579585" y="0"/>
                  </a:lnTo>
                  <a:lnTo>
                    <a:pt x="567177" y="47805"/>
                  </a:lnTo>
                  <a:cubicBezTo>
                    <a:pt x="554881" y="70402"/>
                    <a:pt x="537120" y="90025"/>
                    <a:pt x="515006" y="104633"/>
                  </a:cubicBezTo>
                  <a:cubicBezTo>
                    <a:pt x="515006" y="104633"/>
                    <a:pt x="451248" y="154107"/>
                    <a:pt x="278605" y="192346"/>
                  </a:cubicBezTo>
                  <a:cubicBezTo>
                    <a:pt x="223301" y="204273"/>
                    <a:pt x="168844" y="219818"/>
                    <a:pt x="115581" y="238879"/>
                  </a:cubicBezTo>
                  <a:cubicBezTo>
                    <a:pt x="87243" y="251052"/>
                    <a:pt x="45811" y="267500"/>
                    <a:pt x="13649" y="311346"/>
                  </a:cubicBezTo>
                  <a:lnTo>
                    <a:pt x="0" y="333921"/>
                  </a:lnTo>
                  <a:lnTo>
                    <a:pt x="0" y="105625"/>
                  </a:lnTo>
                  <a:lnTo>
                    <a:pt x="12398" y="88239"/>
                  </a:lnTo>
                  <a:cubicBezTo>
                    <a:pt x="21137" y="78682"/>
                    <a:pt x="31100" y="70123"/>
                    <a:pt x="42151" y="62817"/>
                  </a:cubicBezTo>
                  <a:cubicBezTo>
                    <a:pt x="42151" y="62817"/>
                    <a:pt x="78014" y="34988"/>
                    <a:pt x="168780" y="4930"/>
                  </a:cubicBezTo>
                  <a:close/>
                </a:path>
              </a:pathLst>
            </a:custGeom>
            <a:solidFill>
              <a:schemeClr val="accent1"/>
            </a:solidFill>
            <a:ln w="5002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ja-JP" altLang="en-US"/>
            </a:p>
          </p:txBody>
        </p:sp>
        <p:sp>
          <p:nvSpPr>
            <p:cNvPr id="9" name="二等辺三角形 8">
              <a:extLst>
                <a:ext uri="{FF2B5EF4-FFF2-40B4-BE49-F238E27FC236}">
                  <a16:creationId xmlns:a16="http://schemas.microsoft.com/office/drawing/2014/main" id="{90517255-DA5B-6E4C-5949-CE472B7F2158}"/>
                </a:ext>
              </a:extLst>
            </p:cNvPr>
            <p:cNvSpPr/>
            <p:nvPr userDrawn="1"/>
          </p:nvSpPr>
          <p:spPr>
            <a:xfrm rot="5400000">
              <a:off x="118724" y="-118721"/>
              <a:ext cx="244473" cy="481920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1799C6BD-F4D5-5C54-C91C-6837A14C2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87" y="469999"/>
            <a:ext cx="4812536" cy="427361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2400" b="1" spc="300">
                <a:latin typeface="+mj-ea"/>
              </a:defRPr>
            </a:lvl1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CE9B49CE-BDC1-8454-28D9-66F61AFE4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109A0-FDAC-47CB-89D6-D0514275942F}" type="datetime1">
              <a:rPr kumimoji="1" lang="ja-JP" altLang="en-US" smtClean="0"/>
              <a:t>2023/8/21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705A27E4-D861-48ED-30C3-A6FF82D47F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© SHIDAX CORPORATION. All Right Reserved.</a:t>
            </a:r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F634EC38-063A-7DCF-5B7B-079CC45EE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5"/>
            <a:ext cx="2228850" cy="365125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fld id="{3DB74C4F-4DC2-4C31-8D08-159129179147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24971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2082">
          <p15:clr>
            <a:srgbClr val="FBAE40"/>
          </p15:clr>
        </p15:guide>
        <p15:guide id="4" pos="415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B0A44AA-D914-A1F7-CE51-DF439D0041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2B11A4FE-3AD5-72D7-2008-4296FD475E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EF960B38-137B-D0D3-036A-36AFC2DC7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AD1B6-A84B-4C1B-8DA7-84B5B8BBA6A6}" type="datetime1">
              <a:rPr kumimoji="1" lang="ja-JP" altLang="en-US" smtClean="0"/>
              <a:t>2023/8/21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5893E5DD-FE82-3AE7-8C18-8BA854C8E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© SHIDAX CORPORATION. All Right Reserved.</a:t>
            </a:r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BB00AF62-640F-F6ED-4F89-DDE17A7EB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74C4F-4DC2-4C31-8D08-15912917914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808807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DF8DCF6-A388-ACB6-10FD-35715A79E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EACEFFE5-877B-43D5-E935-1FA406EEA0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3800759A-91D7-7E2D-D48C-31F1E7A306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F998DE-AB82-4928-8B5A-49019933B46B}" type="datetime1">
              <a:rPr kumimoji="1" lang="ja-JP" altLang="en-US" smtClean="0"/>
              <a:t>2023/8/21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D318014D-3663-9CF5-8DC0-B3E4F9CB6B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© SHIDAX CORPORATION. All Right Reserved.</a:t>
            </a:r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34032642-7749-0D9D-E71A-729A673070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74C4F-4DC2-4C31-8D08-15912917914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463760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590CD8F7-B765-3CB6-9036-61B8EBDC7A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B9F74-49C9-409D-91E4-FF40932C256D}" type="datetime1">
              <a:rPr kumimoji="1" lang="ja-JP" altLang="en-US" smtClean="0"/>
              <a:t>2023/8/21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D766499A-ED94-0F69-099E-87D5B933C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© SHIDAX CORPORATION. All Right Reserved.</a:t>
            </a:r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3A43CC76-FD01-4D12-3976-5E659672B1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5"/>
            <a:ext cx="2228850" cy="365125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fld id="{3DB74C4F-4DC2-4C31-8D08-159129179147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513260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メインペー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081FAD7B-5D2E-444D-A567-4212446F5D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スライド" r:id="rId4" imgW="360" imgH="360" progId="">
                  <p:embed/>
                </p:oleObj>
              </mc:Choice>
              <mc:Fallback>
                <p:oleObj name="think-cell スライド" r:id="rId4" imgW="360" imgH="360" progId="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081FAD7B-5D2E-444D-A567-4212446F5D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-46256" y="6599925"/>
            <a:ext cx="3343275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738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© SHIDAX</a:t>
            </a:r>
            <a:r>
              <a:rPr kumimoji="0" lang="ja-JP" altLang="en-US" sz="738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 </a:t>
            </a:r>
            <a:r>
              <a:rPr kumimoji="0" lang="en-US" altLang="ja-JP" sz="738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CORPORATION. All Right Reserved.</a:t>
            </a:r>
            <a:endParaRPr kumimoji="0" lang="ja-JP" altLang="en-US" sz="738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00178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本文（コンセプト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BDD35D31-6832-9600-6502-5D8764438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ABA67F-2AF3-439F-9383-9D48C779A10A}" type="datetime1">
              <a:rPr kumimoji="1" lang="ja-JP" altLang="en-US" smtClean="0"/>
              <a:t>2023/8/21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7227789C-A8B0-8268-BBF5-20CF2186BB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© SHIDAX CORPORATION. All Right Reserved.</a:t>
            </a:r>
            <a:endParaRPr kumimoji="1" lang="ja-JP" altLang="en-US"/>
          </a:p>
        </p:txBody>
      </p:sp>
      <p:sp>
        <p:nvSpPr>
          <p:cNvPr id="9" name="二等辺三角形 8">
            <a:extLst>
              <a:ext uri="{FF2B5EF4-FFF2-40B4-BE49-F238E27FC236}">
                <a16:creationId xmlns:a16="http://schemas.microsoft.com/office/drawing/2014/main" id="{296D36E1-7F64-C68D-D15E-95C425110F2A}"/>
              </a:ext>
            </a:extLst>
          </p:cNvPr>
          <p:cNvSpPr/>
          <p:nvPr userDrawn="1"/>
        </p:nvSpPr>
        <p:spPr>
          <a:xfrm rot="16200000">
            <a:off x="9603569" y="6555569"/>
            <a:ext cx="244473" cy="360388"/>
          </a:xfrm>
          <a:prstGeom prst="triangle">
            <a:avLst>
              <a:gd name="adj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80B8236-E12D-E74A-E6F4-0524E5C51449}"/>
              </a:ext>
            </a:extLst>
          </p:cNvPr>
          <p:cNvCxnSpPr>
            <a:cxnSpLocks/>
          </p:cNvCxnSpPr>
          <p:nvPr userDrawn="1"/>
        </p:nvCxnSpPr>
        <p:spPr>
          <a:xfrm>
            <a:off x="228600" y="6613525"/>
            <a:ext cx="8785019" cy="0"/>
          </a:xfrm>
          <a:prstGeom prst="line">
            <a:avLst/>
          </a:prstGeom>
          <a:ln w="19050" cap="rnd">
            <a:solidFill>
              <a:srgbClr val="6DAC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スライド番号プレースホルダー 4">
            <a:extLst>
              <a:ext uri="{FF2B5EF4-FFF2-40B4-BE49-F238E27FC236}">
                <a16:creationId xmlns:a16="http://schemas.microsoft.com/office/drawing/2014/main" id="{5633C2A4-5F8C-3087-3D09-3E8F616B13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5"/>
            <a:ext cx="2228850" cy="365125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fld id="{3DB74C4F-4DC2-4C31-8D08-159129179147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7E685F35-F5D7-147C-08F5-63DB9D2F60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87" y="469999"/>
            <a:ext cx="4812536" cy="427361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2400" b="1" spc="300">
                <a:latin typeface="+mj-ea"/>
              </a:defRPr>
            </a:lvl1pPr>
          </a:lstStyle>
          <a:p>
            <a:pPr lvl="0"/>
            <a:r>
              <a:rPr kumimoji="1" lang="ja-JP" altLang="en-US"/>
              <a:t>マスター タイトルの書式設定</a:t>
            </a:r>
          </a:p>
        </p:txBody>
      </p:sp>
      <p:sp>
        <p:nvSpPr>
          <p:cNvPr id="2" name="フリーフォーム: 図形 1">
            <a:extLst>
              <a:ext uri="{FF2B5EF4-FFF2-40B4-BE49-F238E27FC236}">
                <a16:creationId xmlns:a16="http://schemas.microsoft.com/office/drawing/2014/main" id="{5BC68246-854D-E4F2-B5CB-8D5EA4EC3E54}"/>
              </a:ext>
            </a:extLst>
          </p:cNvPr>
          <p:cNvSpPr/>
          <p:nvPr userDrawn="1"/>
        </p:nvSpPr>
        <p:spPr>
          <a:xfrm>
            <a:off x="9016586" y="6347876"/>
            <a:ext cx="889414" cy="510124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4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84556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4158">
          <p15:clr>
            <a:srgbClr val="FBAE40"/>
          </p15:clr>
        </p15:guide>
        <p15:guide id="4" pos="208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本文（食事）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フリーフォーム: 図形 1">
            <a:extLst>
              <a:ext uri="{FF2B5EF4-FFF2-40B4-BE49-F238E27FC236}">
                <a16:creationId xmlns:a16="http://schemas.microsoft.com/office/drawing/2014/main" id="{17E5A606-9BCF-A0BE-5530-F061B0D1A9E9}"/>
              </a:ext>
            </a:extLst>
          </p:cNvPr>
          <p:cNvSpPr/>
          <p:nvPr userDrawn="1"/>
        </p:nvSpPr>
        <p:spPr>
          <a:xfrm>
            <a:off x="9016586" y="6347876"/>
            <a:ext cx="889414" cy="510124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5B2402-F0D3-4163-BEBF-2696DB363904}" type="datetime1">
              <a:rPr kumimoji="1" lang="ja-JP" altLang="en-US" smtClean="0"/>
              <a:t>2023/8/21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© SHIDAX CORPORATION. All Right Reserved.</a:t>
            </a:r>
            <a:endParaRPr kumimoji="1"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646" y="412843"/>
            <a:ext cx="4812536" cy="427361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2400" b="1" spc="300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E0725F7A-F03B-62FC-FB40-C795B06AD1DE}"/>
              </a:ext>
            </a:extLst>
          </p:cNvPr>
          <p:cNvCxnSpPr>
            <a:cxnSpLocks/>
          </p:cNvCxnSpPr>
          <p:nvPr userDrawn="1"/>
        </p:nvCxnSpPr>
        <p:spPr>
          <a:xfrm>
            <a:off x="241300" y="6613525"/>
            <a:ext cx="8785019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28D30DB0-020D-F2CF-3058-94F0676CFCEB}"/>
              </a:ext>
            </a:extLst>
          </p:cNvPr>
          <p:cNvCxnSpPr>
            <a:cxnSpLocks/>
          </p:cNvCxnSpPr>
          <p:nvPr userDrawn="1"/>
        </p:nvCxnSpPr>
        <p:spPr>
          <a:xfrm>
            <a:off x="622300" y="244475"/>
            <a:ext cx="9042400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6EF575A-04F3-943A-D187-8229F4A94A65}"/>
              </a:ext>
            </a:extLst>
          </p:cNvPr>
          <p:cNvCxnSpPr>
            <a:cxnSpLocks/>
          </p:cNvCxnSpPr>
          <p:nvPr userDrawn="1"/>
        </p:nvCxnSpPr>
        <p:spPr>
          <a:xfrm>
            <a:off x="241300" y="935038"/>
            <a:ext cx="9423400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 userDrawn="1"/>
        </p:nvSpPr>
        <p:spPr>
          <a:xfrm rot="16200000">
            <a:off x="9603569" y="6555569"/>
            <a:ext cx="244473" cy="360388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5"/>
            <a:ext cx="2228850" cy="365125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fld id="{3DB74C4F-4DC2-4C31-8D08-159129179147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28023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4158">
          <p15:clr>
            <a:srgbClr val="FBAE40"/>
          </p15:clr>
        </p15:guide>
        <p15:guide id="4" pos="208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本文（食事）下線なし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5B9AE-A35B-4508-8A68-5132A7655D53}" type="datetime1">
              <a:rPr kumimoji="1" lang="ja-JP" altLang="en-US" smtClean="0"/>
              <a:t>2023/8/21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© SHIDAX CORPORATION. All Right Reserved.</a:t>
            </a:r>
            <a:endParaRPr kumimoji="1"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646" y="412843"/>
            <a:ext cx="4812536" cy="427361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2400" b="1" spc="300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28D30DB0-020D-F2CF-3058-94F0676CFCEB}"/>
              </a:ext>
            </a:extLst>
          </p:cNvPr>
          <p:cNvCxnSpPr>
            <a:cxnSpLocks/>
          </p:cNvCxnSpPr>
          <p:nvPr userDrawn="1"/>
        </p:nvCxnSpPr>
        <p:spPr>
          <a:xfrm flipV="1">
            <a:off x="241300" y="244475"/>
            <a:ext cx="9423400" cy="3175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6EF575A-04F3-943A-D187-8229F4A94A65}"/>
              </a:ext>
            </a:extLst>
          </p:cNvPr>
          <p:cNvCxnSpPr>
            <a:cxnSpLocks/>
          </p:cNvCxnSpPr>
          <p:nvPr userDrawn="1"/>
        </p:nvCxnSpPr>
        <p:spPr>
          <a:xfrm>
            <a:off x="241300" y="935038"/>
            <a:ext cx="9423400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E536DD92-1CE0-8FC3-9F44-4468D55964E8}"/>
              </a:ext>
            </a:extLst>
          </p:cNvPr>
          <p:cNvGrpSpPr/>
          <p:nvPr userDrawn="1"/>
        </p:nvGrpSpPr>
        <p:grpSpPr>
          <a:xfrm>
            <a:off x="9016586" y="6347876"/>
            <a:ext cx="889414" cy="510124"/>
            <a:chOff x="9016586" y="6347876"/>
            <a:chExt cx="889414" cy="510124"/>
          </a:xfrm>
        </p:grpSpPr>
        <p:sp>
          <p:nvSpPr>
            <p:cNvPr id="14" name="フリーフォーム: 図形 13">
              <a:extLst>
                <a:ext uri="{FF2B5EF4-FFF2-40B4-BE49-F238E27FC236}">
                  <a16:creationId xmlns:a16="http://schemas.microsoft.com/office/drawing/2014/main" id="{DAC3624F-ADFC-E909-0416-AB4E67E01391}"/>
                </a:ext>
              </a:extLst>
            </p:cNvPr>
            <p:cNvSpPr/>
            <p:nvPr userDrawn="1"/>
          </p:nvSpPr>
          <p:spPr>
            <a:xfrm>
              <a:off x="9016586" y="6347876"/>
              <a:ext cx="889414" cy="510124"/>
            </a:xfrm>
            <a:custGeom>
              <a:avLst/>
              <a:gdLst>
                <a:gd name="connsiteX0" fmla="*/ 889414 w 889414"/>
                <a:gd name="connsiteY0" fmla="*/ 0 h 510124"/>
                <a:gd name="connsiteX1" fmla="*/ 889414 w 889414"/>
                <a:gd name="connsiteY1" fmla="*/ 348905 h 510124"/>
                <a:gd name="connsiteX2" fmla="*/ 877780 w 889414"/>
                <a:gd name="connsiteY2" fmla="*/ 365216 h 510124"/>
                <a:gd name="connsiteX3" fmla="*/ 832051 w 889414"/>
                <a:gd name="connsiteY3" fmla="*/ 404264 h 510124"/>
                <a:gd name="connsiteX4" fmla="*/ 637522 w 889414"/>
                <a:gd name="connsiteY4" fmla="*/ 493174 h 510124"/>
                <a:gd name="connsiteX5" fmla="*/ 581303 w 889414"/>
                <a:gd name="connsiteY5" fmla="*/ 510124 h 510124"/>
                <a:gd name="connsiteX6" fmla="*/ 0 w 889414"/>
                <a:gd name="connsiteY6" fmla="*/ 510124 h 510124"/>
                <a:gd name="connsiteX7" fmla="*/ 3704 w 889414"/>
                <a:gd name="connsiteY7" fmla="*/ 482429 h 510124"/>
                <a:gd name="connsiteX8" fmla="*/ 105648 w 889414"/>
                <a:gd name="connsiteY8" fmla="*/ 340026 h 510124"/>
                <a:gd name="connsiteX9" fmla="*/ 468809 w 889414"/>
                <a:gd name="connsiteY9" fmla="*/ 205240 h 510124"/>
                <a:gd name="connsiteX10" fmla="*/ 719248 w 889414"/>
                <a:gd name="connsiteY10" fmla="*/ 133797 h 510124"/>
                <a:gd name="connsiteX11" fmla="*/ 875824 w 889414"/>
                <a:gd name="connsiteY11" fmla="*/ 22473 h 51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9414" h="510124">
                  <a:moveTo>
                    <a:pt x="889414" y="0"/>
                  </a:moveTo>
                  <a:lnTo>
                    <a:pt x="889414" y="348905"/>
                  </a:lnTo>
                  <a:lnTo>
                    <a:pt x="877780" y="365216"/>
                  </a:lnTo>
                  <a:cubicBezTo>
                    <a:pt x="864351" y="379897"/>
                    <a:pt x="849037" y="393043"/>
                    <a:pt x="832051" y="404264"/>
                  </a:cubicBezTo>
                  <a:cubicBezTo>
                    <a:pt x="832051" y="404264"/>
                    <a:pt x="776957" y="447016"/>
                    <a:pt x="637522" y="493174"/>
                  </a:cubicBezTo>
                  <a:lnTo>
                    <a:pt x="581303" y="510124"/>
                  </a:lnTo>
                  <a:lnTo>
                    <a:pt x="0" y="510124"/>
                  </a:lnTo>
                  <a:lnTo>
                    <a:pt x="3704" y="482429"/>
                  </a:lnTo>
                  <a:cubicBezTo>
                    <a:pt x="18817" y="424692"/>
                    <a:pt x="54722" y="373697"/>
                    <a:pt x="105648" y="340026"/>
                  </a:cubicBezTo>
                  <a:cubicBezTo>
                    <a:pt x="105648" y="340026"/>
                    <a:pt x="203593" y="264023"/>
                    <a:pt x="468809" y="205240"/>
                  </a:cubicBezTo>
                  <a:cubicBezTo>
                    <a:pt x="553768" y="186941"/>
                    <a:pt x="637423" y="163078"/>
                    <a:pt x="719248" y="133797"/>
                  </a:cubicBezTo>
                  <a:cubicBezTo>
                    <a:pt x="762755" y="115096"/>
                    <a:pt x="826409" y="89828"/>
                    <a:pt x="875824" y="22473"/>
                  </a:cubicBezTo>
                  <a:close/>
                </a:path>
              </a:pathLst>
            </a:custGeom>
            <a:solidFill>
              <a:schemeClr val="accent1"/>
            </a:solidFill>
            <a:ln w="5002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ja-JP" altLang="en-US"/>
            </a:p>
          </p:txBody>
        </p:sp>
        <p:sp>
          <p:nvSpPr>
            <p:cNvPr id="12" name="二等辺三角形 11">
              <a:extLst>
                <a:ext uri="{FF2B5EF4-FFF2-40B4-BE49-F238E27FC236}">
                  <a16:creationId xmlns:a16="http://schemas.microsoft.com/office/drawing/2014/main" id="{C88B6880-40F5-87BE-A379-EED42AA48211}"/>
                </a:ext>
              </a:extLst>
            </p:cNvPr>
            <p:cNvSpPr/>
            <p:nvPr userDrawn="1"/>
          </p:nvSpPr>
          <p:spPr>
            <a:xfrm rot="16200000">
              <a:off x="9603569" y="6555569"/>
              <a:ext cx="244473" cy="36038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5"/>
            <a:ext cx="2228850" cy="365125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fld id="{3DB74C4F-4DC2-4C31-8D08-159129179147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59493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4158">
          <p15:clr>
            <a:srgbClr val="FBAE40"/>
          </p15:clr>
        </p15:guide>
        <p15:guide id="4" pos="208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本文（食事）下線なし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フリーフォーム: 図形 7">
            <a:extLst>
              <a:ext uri="{FF2B5EF4-FFF2-40B4-BE49-F238E27FC236}">
                <a16:creationId xmlns:a16="http://schemas.microsoft.com/office/drawing/2014/main" id="{C07237BF-D317-9066-91C0-F077792605CD}"/>
              </a:ext>
            </a:extLst>
          </p:cNvPr>
          <p:cNvSpPr>
            <a:spLocks/>
          </p:cNvSpPr>
          <p:nvPr/>
        </p:nvSpPr>
        <p:spPr>
          <a:xfrm>
            <a:off x="-119270" y="1107999"/>
            <a:ext cx="10025270" cy="5750000"/>
          </a:xfrm>
          <a:custGeom>
            <a:avLst/>
            <a:gdLst>
              <a:gd name="connsiteX0" fmla="*/ 10025270 w 10025270"/>
              <a:gd name="connsiteY0" fmla="*/ 0 h 5750000"/>
              <a:gd name="connsiteX1" fmla="*/ 10025270 w 10025270"/>
              <a:gd name="connsiteY1" fmla="*/ 3932777 h 5750000"/>
              <a:gd name="connsiteX2" fmla="*/ 10025264 w 10025270"/>
              <a:gd name="connsiteY2" fmla="*/ 3932786 h 5750000"/>
              <a:gd name="connsiteX3" fmla="*/ 10025264 w 10025270"/>
              <a:gd name="connsiteY3" fmla="*/ 5749994 h 5750000"/>
              <a:gd name="connsiteX4" fmla="*/ 6552334 w 10025270"/>
              <a:gd name="connsiteY4" fmla="*/ 5749994 h 5750000"/>
              <a:gd name="connsiteX5" fmla="*/ 6552314 w 10025270"/>
              <a:gd name="connsiteY5" fmla="*/ 5750000 h 5750000"/>
              <a:gd name="connsiteX6" fmla="*/ 0 w 10025270"/>
              <a:gd name="connsiteY6" fmla="*/ 5750000 h 5750000"/>
              <a:gd name="connsiteX7" fmla="*/ 41751 w 10025270"/>
              <a:gd name="connsiteY7" fmla="*/ 5437829 h 5750000"/>
              <a:gd name="connsiteX8" fmla="*/ 1190840 w 10025270"/>
              <a:gd name="connsiteY8" fmla="*/ 3832695 h 5750000"/>
              <a:gd name="connsiteX9" fmla="*/ 5284307 w 10025270"/>
              <a:gd name="connsiteY9" fmla="*/ 2313418 h 5750000"/>
              <a:gd name="connsiteX10" fmla="*/ 8107198 w 10025270"/>
              <a:gd name="connsiteY10" fmla="*/ 1508129 h 5750000"/>
              <a:gd name="connsiteX11" fmla="*/ 9872087 w 10025270"/>
              <a:gd name="connsiteY11" fmla="*/ 253311 h 575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025270" h="5750000">
                <a:moveTo>
                  <a:pt x="10025270" y="0"/>
                </a:moveTo>
                <a:lnTo>
                  <a:pt x="10025270" y="3932777"/>
                </a:lnTo>
                <a:lnTo>
                  <a:pt x="10025264" y="3932786"/>
                </a:lnTo>
                <a:lnTo>
                  <a:pt x="10025264" y="5749994"/>
                </a:lnTo>
                <a:lnTo>
                  <a:pt x="6552334" y="5749994"/>
                </a:lnTo>
                <a:lnTo>
                  <a:pt x="6552314" y="5750000"/>
                </a:lnTo>
                <a:lnTo>
                  <a:pt x="0" y="5750000"/>
                </a:lnTo>
                <a:lnTo>
                  <a:pt x="41751" y="5437829"/>
                </a:lnTo>
                <a:cubicBezTo>
                  <a:pt x="212101" y="4787030"/>
                  <a:pt x="616814" y="4212227"/>
                  <a:pt x="1190840" y="3832695"/>
                </a:cubicBezTo>
                <a:cubicBezTo>
                  <a:pt x="1190840" y="3832695"/>
                  <a:pt x="2294854" y="2976006"/>
                  <a:pt x="5284307" y="2313418"/>
                </a:cubicBezTo>
                <a:cubicBezTo>
                  <a:pt x="6241946" y="2107156"/>
                  <a:pt x="7184886" y="1838178"/>
                  <a:pt x="8107198" y="1508129"/>
                </a:cubicBezTo>
                <a:cubicBezTo>
                  <a:pt x="8597599" y="1297336"/>
                  <a:pt x="9315092" y="1012521"/>
                  <a:pt x="9872087" y="253311"/>
                </a:cubicBezTo>
                <a:close/>
              </a:path>
            </a:pathLst>
          </a:custGeom>
          <a:gradFill>
            <a:gsLst>
              <a:gs pos="25000">
                <a:schemeClr val="accent3">
                  <a:lumMod val="90000"/>
                  <a:alpha val="80000"/>
                </a:schemeClr>
              </a:gs>
              <a:gs pos="100000">
                <a:schemeClr val="accent3">
                  <a:lumMod val="75000"/>
                  <a:alpha val="80000"/>
                </a:schemeClr>
              </a:gs>
            </a:gsLst>
            <a:lin ang="0" scaled="0"/>
          </a:gra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F635B9AE-A35B-4508-8A68-5132A7655D53}" type="datetime1">
              <a:rPr kumimoji="1" lang="ja-JP" altLang="en-US" smtClean="0"/>
              <a:t>2023/8/21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© SHIDAX CORPORATION. All Right Reserved.</a:t>
            </a:r>
            <a:endParaRPr kumimoji="1"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74646" y="412843"/>
            <a:ext cx="4812536" cy="427361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2400" b="1" spc="300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28D30DB0-020D-F2CF-3058-94F0676CFCEB}"/>
              </a:ext>
            </a:extLst>
          </p:cNvPr>
          <p:cNvCxnSpPr>
            <a:cxnSpLocks/>
          </p:cNvCxnSpPr>
          <p:nvPr userDrawn="1"/>
        </p:nvCxnSpPr>
        <p:spPr>
          <a:xfrm flipV="1">
            <a:off x="241300" y="244475"/>
            <a:ext cx="9423400" cy="3175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6EF575A-04F3-943A-D187-8229F4A94A65}"/>
              </a:ext>
            </a:extLst>
          </p:cNvPr>
          <p:cNvCxnSpPr>
            <a:cxnSpLocks/>
          </p:cNvCxnSpPr>
          <p:nvPr userDrawn="1"/>
        </p:nvCxnSpPr>
        <p:spPr>
          <a:xfrm>
            <a:off x="241300" y="935038"/>
            <a:ext cx="9423400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DAC3624F-ADFC-E909-0416-AB4E67E01391}"/>
              </a:ext>
            </a:extLst>
          </p:cNvPr>
          <p:cNvSpPr/>
          <p:nvPr userDrawn="1"/>
        </p:nvSpPr>
        <p:spPr>
          <a:xfrm>
            <a:off x="9016586" y="6347876"/>
            <a:ext cx="889414" cy="510124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/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 userDrawn="1"/>
        </p:nvSpPr>
        <p:spPr>
          <a:xfrm rot="16200000">
            <a:off x="9603569" y="6555569"/>
            <a:ext cx="244473" cy="360388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7544584" y="6492875"/>
            <a:ext cx="2228850" cy="365125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fld id="{3DB74C4F-4DC2-4C31-8D08-159129179147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196042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4158">
          <p15:clr>
            <a:srgbClr val="FBAE40"/>
          </p15:clr>
        </p15:guide>
        <p15:guide id="4" pos="208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本文（食事）下線なし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フリーフォーム: 図形 7">
            <a:extLst>
              <a:ext uri="{FF2B5EF4-FFF2-40B4-BE49-F238E27FC236}">
                <a16:creationId xmlns:a16="http://schemas.microsoft.com/office/drawing/2014/main" id="{C07237BF-D317-9066-91C0-F077792605CD}"/>
              </a:ext>
            </a:extLst>
          </p:cNvPr>
          <p:cNvSpPr>
            <a:spLocks/>
          </p:cNvSpPr>
          <p:nvPr/>
        </p:nvSpPr>
        <p:spPr>
          <a:xfrm>
            <a:off x="-119270" y="1107999"/>
            <a:ext cx="10025270" cy="5750000"/>
          </a:xfrm>
          <a:custGeom>
            <a:avLst/>
            <a:gdLst>
              <a:gd name="connsiteX0" fmla="*/ 10025270 w 10025270"/>
              <a:gd name="connsiteY0" fmla="*/ 0 h 5750000"/>
              <a:gd name="connsiteX1" fmla="*/ 10025270 w 10025270"/>
              <a:gd name="connsiteY1" fmla="*/ 3932777 h 5750000"/>
              <a:gd name="connsiteX2" fmla="*/ 10025264 w 10025270"/>
              <a:gd name="connsiteY2" fmla="*/ 3932786 h 5750000"/>
              <a:gd name="connsiteX3" fmla="*/ 10025264 w 10025270"/>
              <a:gd name="connsiteY3" fmla="*/ 5749994 h 5750000"/>
              <a:gd name="connsiteX4" fmla="*/ 6552334 w 10025270"/>
              <a:gd name="connsiteY4" fmla="*/ 5749994 h 5750000"/>
              <a:gd name="connsiteX5" fmla="*/ 6552314 w 10025270"/>
              <a:gd name="connsiteY5" fmla="*/ 5750000 h 5750000"/>
              <a:gd name="connsiteX6" fmla="*/ 0 w 10025270"/>
              <a:gd name="connsiteY6" fmla="*/ 5750000 h 5750000"/>
              <a:gd name="connsiteX7" fmla="*/ 41751 w 10025270"/>
              <a:gd name="connsiteY7" fmla="*/ 5437829 h 5750000"/>
              <a:gd name="connsiteX8" fmla="*/ 1190840 w 10025270"/>
              <a:gd name="connsiteY8" fmla="*/ 3832695 h 5750000"/>
              <a:gd name="connsiteX9" fmla="*/ 5284307 w 10025270"/>
              <a:gd name="connsiteY9" fmla="*/ 2313418 h 5750000"/>
              <a:gd name="connsiteX10" fmla="*/ 8107198 w 10025270"/>
              <a:gd name="connsiteY10" fmla="*/ 1508129 h 5750000"/>
              <a:gd name="connsiteX11" fmla="*/ 9872087 w 10025270"/>
              <a:gd name="connsiteY11" fmla="*/ 253311 h 575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025270" h="5750000">
                <a:moveTo>
                  <a:pt x="10025270" y="0"/>
                </a:moveTo>
                <a:lnTo>
                  <a:pt x="10025270" y="3932777"/>
                </a:lnTo>
                <a:lnTo>
                  <a:pt x="10025264" y="3932786"/>
                </a:lnTo>
                <a:lnTo>
                  <a:pt x="10025264" y="5749994"/>
                </a:lnTo>
                <a:lnTo>
                  <a:pt x="6552334" y="5749994"/>
                </a:lnTo>
                <a:lnTo>
                  <a:pt x="6552314" y="5750000"/>
                </a:lnTo>
                <a:lnTo>
                  <a:pt x="0" y="5750000"/>
                </a:lnTo>
                <a:lnTo>
                  <a:pt x="41751" y="5437829"/>
                </a:lnTo>
                <a:cubicBezTo>
                  <a:pt x="212101" y="4787030"/>
                  <a:pt x="616814" y="4212227"/>
                  <a:pt x="1190840" y="3832695"/>
                </a:cubicBezTo>
                <a:cubicBezTo>
                  <a:pt x="1190840" y="3832695"/>
                  <a:pt x="2294854" y="2976006"/>
                  <a:pt x="5284307" y="2313418"/>
                </a:cubicBezTo>
                <a:cubicBezTo>
                  <a:pt x="6241946" y="2107156"/>
                  <a:pt x="7184886" y="1838178"/>
                  <a:pt x="8107198" y="1508129"/>
                </a:cubicBezTo>
                <a:cubicBezTo>
                  <a:pt x="8597599" y="1297336"/>
                  <a:pt x="9315092" y="1012521"/>
                  <a:pt x="9872087" y="253311"/>
                </a:cubicBezTo>
                <a:close/>
              </a:path>
            </a:pathLst>
          </a:custGeom>
          <a:gradFill>
            <a:gsLst>
              <a:gs pos="25000">
                <a:schemeClr val="accent4">
                  <a:lumMod val="20000"/>
                  <a:lumOff val="80000"/>
                </a:schemeClr>
              </a:gs>
              <a:gs pos="100000">
                <a:schemeClr val="accent4">
                  <a:lumMod val="40000"/>
                  <a:lumOff val="60000"/>
                </a:schemeClr>
              </a:gs>
            </a:gsLst>
            <a:lin ang="0" scaled="0"/>
          </a:gra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F635B9AE-A35B-4508-8A68-5132A7655D53}" type="datetime1">
              <a:rPr kumimoji="1" lang="ja-JP" altLang="en-US" smtClean="0"/>
              <a:t>2023/8/21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© SHIDAX CORPORATION. All Right Reserved.</a:t>
            </a:r>
            <a:endParaRPr kumimoji="1"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74646" y="412843"/>
            <a:ext cx="4812536" cy="427361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2400" b="1" spc="300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28D30DB0-020D-F2CF-3058-94F0676CFCEB}"/>
              </a:ext>
            </a:extLst>
          </p:cNvPr>
          <p:cNvCxnSpPr>
            <a:cxnSpLocks/>
          </p:cNvCxnSpPr>
          <p:nvPr userDrawn="1"/>
        </p:nvCxnSpPr>
        <p:spPr>
          <a:xfrm flipV="1">
            <a:off x="241300" y="244475"/>
            <a:ext cx="9423400" cy="3175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6EF575A-04F3-943A-D187-8229F4A94A65}"/>
              </a:ext>
            </a:extLst>
          </p:cNvPr>
          <p:cNvCxnSpPr>
            <a:cxnSpLocks/>
          </p:cNvCxnSpPr>
          <p:nvPr userDrawn="1"/>
        </p:nvCxnSpPr>
        <p:spPr>
          <a:xfrm>
            <a:off x="241300" y="935038"/>
            <a:ext cx="9423400" cy="0"/>
          </a:xfrm>
          <a:prstGeom prst="line">
            <a:avLst/>
          </a:prstGeom>
          <a:ln w="190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DAC3624F-ADFC-E909-0416-AB4E67E01391}"/>
              </a:ext>
            </a:extLst>
          </p:cNvPr>
          <p:cNvSpPr/>
          <p:nvPr userDrawn="1"/>
        </p:nvSpPr>
        <p:spPr>
          <a:xfrm>
            <a:off x="9016586" y="6347876"/>
            <a:ext cx="889414" cy="510124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/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 userDrawn="1"/>
        </p:nvSpPr>
        <p:spPr>
          <a:xfrm rot="16200000">
            <a:off x="9603569" y="6555569"/>
            <a:ext cx="244473" cy="360388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7544584" y="6492875"/>
            <a:ext cx="2228850" cy="365125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fld id="{3DB74C4F-4DC2-4C31-8D08-159129179147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39359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4158">
          <p15:clr>
            <a:srgbClr val="FBAE40"/>
          </p15:clr>
        </p15:guide>
        <p15:guide id="4" pos="208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本文（食事）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022809-CE07-4C38-9547-5145FEC5798B}" type="datetime1">
              <a:rPr kumimoji="1" lang="ja-JP" altLang="en-US" smtClean="0"/>
              <a:t>2023/8/21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© SHIDAX CORPORATION. All Right Reserved.</a:t>
            </a:r>
            <a:endParaRPr kumimoji="1"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646" y="412843"/>
            <a:ext cx="4812536" cy="427361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2400" b="1" spc="300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28D30DB0-020D-F2CF-3058-94F0676CFCEB}"/>
              </a:ext>
            </a:extLst>
          </p:cNvPr>
          <p:cNvCxnSpPr>
            <a:cxnSpLocks/>
          </p:cNvCxnSpPr>
          <p:nvPr userDrawn="1"/>
        </p:nvCxnSpPr>
        <p:spPr>
          <a:xfrm flipV="1">
            <a:off x="241300" y="244475"/>
            <a:ext cx="9423400" cy="3175"/>
          </a:xfrm>
          <a:prstGeom prst="line">
            <a:avLst/>
          </a:prstGeom>
          <a:ln w="1905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96EF575A-04F3-943A-D187-8229F4A94A65}"/>
              </a:ext>
            </a:extLst>
          </p:cNvPr>
          <p:cNvCxnSpPr>
            <a:cxnSpLocks/>
          </p:cNvCxnSpPr>
          <p:nvPr userDrawn="1"/>
        </p:nvCxnSpPr>
        <p:spPr>
          <a:xfrm>
            <a:off x="241300" y="935038"/>
            <a:ext cx="9423400" cy="0"/>
          </a:xfrm>
          <a:prstGeom prst="line">
            <a:avLst/>
          </a:prstGeom>
          <a:ln w="1905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DAC3624F-ADFC-E909-0416-AB4E67E01391}"/>
              </a:ext>
            </a:extLst>
          </p:cNvPr>
          <p:cNvSpPr/>
          <p:nvPr userDrawn="1"/>
        </p:nvSpPr>
        <p:spPr>
          <a:xfrm>
            <a:off x="9016586" y="6347876"/>
            <a:ext cx="889414" cy="510124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bg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/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 userDrawn="1"/>
        </p:nvSpPr>
        <p:spPr>
          <a:xfrm rot="16200000">
            <a:off x="9603569" y="6555569"/>
            <a:ext cx="244473" cy="360388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5"/>
            <a:ext cx="2228850" cy="365125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fld id="{3DB74C4F-4DC2-4C31-8D08-159129179147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30727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4158">
          <p15:clr>
            <a:srgbClr val="FBAE40"/>
          </p15:clr>
        </p15:guide>
        <p15:guide id="4" pos="20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本文（食事）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2BF13B-E062-4C04-A0C8-9B41C72D637B}" type="datetime1">
              <a:rPr kumimoji="1" lang="ja-JP" altLang="en-US" smtClean="0"/>
              <a:t>2023/8/21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© SHIDAX CORPORATION. All Right Reserved.</a:t>
            </a:r>
            <a:endParaRPr kumimoji="1" lang="ja-JP" altLang="en-US"/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FCE5DED-7473-3778-DC61-5D937EDA74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4646" y="412843"/>
            <a:ext cx="4812536" cy="427361"/>
          </a:xfrm>
          <a:noFill/>
        </p:spPr>
        <p:txBody>
          <a:bodyPr wrap="none" rtlCol="0">
            <a:spAutoFit/>
          </a:bodyPr>
          <a:lstStyle>
            <a:lvl1pPr>
              <a:defRPr lang="ja-JP" altLang="en-US" sz="2400" b="1" spc="300">
                <a:latin typeface="+mj-ea"/>
              </a:defRPr>
            </a:lvl1pPr>
          </a:lstStyle>
          <a:p>
            <a:pPr lvl="0"/>
            <a:r>
              <a:rPr kumimoji="1" lang="ja-JP" altLang="en-US" dirty="0"/>
              <a:t>マスタータイトルの書式設定</a:t>
            </a:r>
          </a:p>
        </p:txBody>
      </p: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DAC3624F-ADFC-E909-0416-AB4E67E01391}"/>
              </a:ext>
            </a:extLst>
          </p:cNvPr>
          <p:cNvSpPr/>
          <p:nvPr userDrawn="1"/>
        </p:nvSpPr>
        <p:spPr>
          <a:xfrm>
            <a:off x="9016586" y="6347876"/>
            <a:ext cx="889414" cy="510124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/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 userDrawn="1"/>
        </p:nvSpPr>
        <p:spPr>
          <a:xfrm rot="16200000">
            <a:off x="9603569" y="6555569"/>
            <a:ext cx="244473" cy="360388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5"/>
            <a:ext cx="2228850" cy="365125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fld id="{3DB74C4F-4DC2-4C31-8D08-159129179147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925979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4158">
          <p15:clr>
            <a:srgbClr val="FBAE40"/>
          </p15:clr>
        </p15:guide>
        <p15:guide id="4" pos="208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本文（食事）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96562898-0837-7DA3-F7AA-309C34358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0169C-30E1-4B84-826A-EBD71070D667}" type="datetime1">
              <a:rPr kumimoji="1" lang="ja-JP" altLang="en-US" smtClean="0"/>
              <a:t>2023/8/21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AFC0BEC1-3B32-D072-51B7-F1A386917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kumimoji="1" lang="en-US" altLang="ja-JP"/>
              <a:t>© SHIDAX CORPORATION. All Right Reserved.</a:t>
            </a:r>
            <a:endParaRPr kumimoji="1" lang="ja-JP" altLang="en-US"/>
          </a:p>
        </p:txBody>
      </p: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DAC3624F-ADFC-E909-0416-AB4E67E01391}"/>
              </a:ext>
            </a:extLst>
          </p:cNvPr>
          <p:cNvSpPr/>
          <p:nvPr userDrawn="1"/>
        </p:nvSpPr>
        <p:spPr>
          <a:xfrm>
            <a:off x="9016586" y="6347876"/>
            <a:ext cx="889414" cy="510124"/>
          </a:xfrm>
          <a:custGeom>
            <a:avLst/>
            <a:gdLst>
              <a:gd name="connsiteX0" fmla="*/ 889414 w 889414"/>
              <a:gd name="connsiteY0" fmla="*/ 0 h 510124"/>
              <a:gd name="connsiteX1" fmla="*/ 889414 w 889414"/>
              <a:gd name="connsiteY1" fmla="*/ 348905 h 510124"/>
              <a:gd name="connsiteX2" fmla="*/ 877780 w 889414"/>
              <a:gd name="connsiteY2" fmla="*/ 365216 h 510124"/>
              <a:gd name="connsiteX3" fmla="*/ 832051 w 889414"/>
              <a:gd name="connsiteY3" fmla="*/ 404264 h 510124"/>
              <a:gd name="connsiteX4" fmla="*/ 637522 w 889414"/>
              <a:gd name="connsiteY4" fmla="*/ 493174 h 510124"/>
              <a:gd name="connsiteX5" fmla="*/ 581303 w 889414"/>
              <a:gd name="connsiteY5" fmla="*/ 510124 h 510124"/>
              <a:gd name="connsiteX6" fmla="*/ 0 w 889414"/>
              <a:gd name="connsiteY6" fmla="*/ 510124 h 510124"/>
              <a:gd name="connsiteX7" fmla="*/ 3704 w 889414"/>
              <a:gd name="connsiteY7" fmla="*/ 482429 h 510124"/>
              <a:gd name="connsiteX8" fmla="*/ 105648 w 889414"/>
              <a:gd name="connsiteY8" fmla="*/ 340026 h 510124"/>
              <a:gd name="connsiteX9" fmla="*/ 468809 w 889414"/>
              <a:gd name="connsiteY9" fmla="*/ 205240 h 510124"/>
              <a:gd name="connsiteX10" fmla="*/ 719248 w 889414"/>
              <a:gd name="connsiteY10" fmla="*/ 133797 h 510124"/>
              <a:gd name="connsiteX11" fmla="*/ 875824 w 889414"/>
              <a:gd name="connsiteY11" fmla="*/ 22473 h 51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9414" h="510124">
                <a:moveTo>
                  <a:pt x="889414" y="0"/>
                </a:moveTo>
                <a:lnTo>
                  <a:pt x="889414" y="348905"/>
                </a:lnTo>
                <a:lnTo>
                  <a:pt x="877780" y="365216"/>
                </a:lnTo>
                <a:cubicBezTo>
                  <a:pt x="864351" y="379897"/>
                  <a:pt x="849037" y="393043"/>
                  <a:pt x="832051" y="404264"/>
                </a:cubicBezTo>
                <a:cubicBezTo>
                  <a:pt x="832051" y="404264"/>
                  <a:pt x="776957" y="447016"/>
                  <a:pt x="637522" y="493174"/>
                </a:cubicBezTo>
                <a:lnTo>
                  <a:pt x="581303" y="510124"/>
                </a:lnTo>
                <a:lnTo>
                  <a:pt x="0" y="510124"/>
                </a:lnTo>
                <a:lnTo>
                  <a:pt x="3704" y="482429"/>
                </a:lnTo>
                <a:cubicBezTo>
                  <a:pt x="18817" y="424692"/>
                  <a:pt x="54722" y="373697"/>
                  <a:pt x="105648" y="340026"/>
                </a:cubicBezTo>
                <a:cubicBezTo>
                  <a:pt x="105648" y="340026"/>
                  <a:pt x="203593" y="264023"/>
                  <a:pt x="468809" y="205240"/>
                </a:cubicBezTo>
                <a:cubicBezTo>
                  <a:pt x="553768" y="186941"/>
                  <a:pt x="637423" y="163078"/>
                  <a:pt x="719248" y="133797"/>
                </a:cubicBezTo>
                <a:cubicBezTo>
                  <a:pt x="762755" y="115096"/>
                  <a:pt x="826409" y="89828"/>
                  <a:pt x="875824" y="22473"/>
                </a:cubicBezTo>
                <a:close/>
              </a:path>
            </a:pathLst>
          </a:custGeom>
          <a:solidFill>
            <a:schemeClr val="accent1"/>
          </a:soli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/>
          </a:p>
        </p:txBody>
      </p:sp>
      <p:sp>
        <p:nvSpPr>
          <p:cNvPr id="12" name="二等辺三角形 11">
            <a:extLst>
              <a:ext uri="{FF2B5EF4-FFF2-40B4-BE49-F238E27FC236}">
                <a16:creationId xmlns:a16="http://schemas.microsoft.com/office/drawing/2014/main" id="{C88B6880-40F5-87BE-A379-EED42AA48211}"/>
              </a:ext>
            </a:extLst>
          </p:cNvPr>
          <p:cNvSpPr/>
          <p:nvPr userDrawn="1"/>
        </p:nvSpPr>
        <p:spPr>
          <a:xfrm rot="16200000">
            <a:off x="9603569" y="6555569"/>
            <a:ext cx="244473" cy="360388"/>
          </a:xfrm>
          <a:prstGeom prst="triangle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スライド番号プレースホルダー 4">
            <a:extLst>
              <a:ext uri="{FF2B5EF4-FFF2-40B4-BE49-F238E27FC236}">
                <a16:creationId xmlns:a16="http://schemas.microsoft.com/office/drawing/2014/main" id="{2B1A9EB0-5598-FDC2-A048-B337BE884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44584" y="6492875"/>
            <a:ext cx="2228850" cy="365125"/>
          </a:xfrm>
        </p:spPr>
        <p:txBody>
          <a:bodyPr/>
          <a:lstStyle>
            <a:lvl1pPr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fld id="{3DB74C4F-4DC2-4C31-8D08-159129179147}" type="slidenum">
              <a:rPr kumimoji="1" lang="ja-JP" altLang="en-US" smtClean="0"/>
              <a:pPr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41350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2880">
          <p15:clr>
            <a:srgbClr val="FBAE40"/>
          </p15:clr>
        </p15:guide>
        <p15:guide id="3" pos="4158">
          <p15:clr>
            <a:srgbClr val="FBAE40"/>
          </p15:clr>
        </p15:guide>
        <p15:guide id="4" pos="208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3F29477B-7E4D-7D15-08E2-AE6FF866D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0EEB27B-E41B-55E0-D20E-A7527615CD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71428736-CC99-05C5-4CB5-04BC5FA052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311331-E4D0-4D4E-B6CB-0684306BC1D0}" type="datetime1">
              <a:rPr kumimoji="1" lang="ja-JP" altLang="en-US" smtClean="0"/>
              <a:t>2023/8/21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35928B78-0132-BE7C-24DA-9C9643F1BF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kumimoji="1" lang="en-US" altLang="ja-JP"/>
              <a:t>© SHIDAX CORPORATION. All Right Reserved.</a:t>
            </a:r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296C078B-A296-D722-5F68-726FC72167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B74C4F-4DC2-4C31-8D08-15912917914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56080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711" r:id="rId4"/>
    <p:sldLayoutId id="2147483717" r:id="rId5"/>
    <p:sldLayoutId id="2147483718" r:id="rId6"/>
    <p:sldLayoutId id="2147483712" r:id="rId7"/>
    <p:sldLayoutId id="2147483713" r:id="rId8"/>
    <p:sldLayoutId id="2147483714" r:id="rId9"/>
    <p:sldLayoutId id="2147483690" r:id="rId10"/>
    <p:sldLayoutId id="2147483691" r:id="rId11"/>
    <p:sldLayoutId id="2147483696" r:id="rId12"/>
    <p:sldLayoutId id="214748371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  <p15:guide id="3" pos="144">
          <p15:clr>
            <a:srgbClr val="F26B43"/>
          </p15:clr>
        </p15:guide>
        <p15:guide id="4" pos="6096">
          <p15:clr>
            <a:srgbClr val="F26B43"/>
          </p15:clr>
        </p15:guide>
        <p15:guide id="5" orient="horz" pos="156">
          <p15:clr>
            <a:srgbClr val="F26B43"/>
          </p15:clr>
        </p15:guide>
        <p15:guide id="6" orient="horz" pos="41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.svg"/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907200" cy="6858000"/>
          </a:xfrm>
          <a:custGeom>
            <a:avLst/>
            <a:gdLst>
              <a:gd name="connsiteX0" fmla="*/ 0 w 9907200"/>
              <a:gd name="connsiteY0" fmla="*/ 0 h 6858000"/>
              <a:gd name="connsiteX1" fmla="*/ 9907200 w 9907200"/>
              <a:gd name="connsiteY1" fmla="*/ 0 h 6858000"/>
              <a:gd name="connsiteX2" fmla="*/ 9907200 w 9907200"/>
              <a:gd name="connsiteY2" fmla="*/ 6858000 h 6858000"/>
              <a:gd name="connsiteX3" fmla="*/ 0 w 99072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07200" h="6858000">
                <a:moveTo>
                  <a:pt x="0" y="0"/>
                </a:moveTo>
                <a:lnTo>
                  <a:pt x="9907200" y="0"/>
                </a:lnTo>
                <a:lnTo>
                  <a:pt x="99072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3" name="正方形/長方形 12"/>
          <p:cNvSpPr/>
          <p:nvPr/>
        </p:nvSpPr>
        <p:spPr>
          <a:xfrm>
            <a:off x="0" y="0"/>
            <a:ext cx="9907201" cy="68732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フリーフォーム: 図形 7">
            <a:extLst>
              <a:ext uri="{FF2B5EF4-FFF2-40B4-BE49-F238E27FC236}">
                <a16:creationId xmlns:a16="http://schemas.microsoft.com/office/drawing/2014/main" id="{BE66B749-26DA-C7A2-1964-0CC178781A40}"/>
              </a:ext>
            </a:extLst>
          </p:cNvPr>
          <p:cNvSpPr/>
          <p:nvPr/>
        </p:nvSpPr>
        <p:spPr>
          <a:xfrm>
            <a:off x="2181558" y="2668486"/>
            <a:ext cx="7725643" cy="4189514"/>
          </a:xfrm>
          <a:custGeom>
            <a:avLst/>
            <a:gdLst>
              <a:gd name="connsiteX0" fmla="*/ 7725643 w 7725643"/>
              <a:gd name="connsiteY0" fmla="*/ 0 h 4189514"/>
              <a:gd name="connsiteX1" fmla="*/ 7725643 w 7725643"/>
              <a:gd name="connsiteY1" fmla="*/ 4189514 h 4189514"/>
              <a:gd name="connsiteX2" fmla="*/ 0 w 7725643"/>
              <a:gd name="connsiteY2" fmla="*/ 4189514 h 4189514"/>
              <a:gd name="connsiteX3" fmla="*/ 41708 w 7725643"/>
              <a:gd name="connsiteY3" fmla="*/ 3978128 h 4189514"/>
              <a:gd name="connsiteX4" fmla="*/ 951980 w 7725643"/>
              <a:gd name="connsiteY4" fmla="*/ 2706600 h 4189514"/>
              <a:gd name="connsiteX5" fmla="*/ 4194684 w 7725643"/>
              <a:gd name="connsiteY5" fmla="*/ 1503080 h 4189514"/>
              <a:gd name="connsiteX6" fmla="*/ 6430884 w 7725643"/>
              <a:gd name="connsiteY6" fmla="*/ 865153 h 4189514"/>
              <a:gd name="connsiteX7" fmla="*/ 7693093 w 7725643"/>
              <a:gd name="connsiteY7" fmla="*/ 40598 h 4189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5643" h="4189514">
                <a:moveTo>
                  <a:pt x="7725643" y="0"/>
                </a:moveTo>
                <a:lnTo>
                  <a:pt x="7725643" y="4189514"/>
                </a:lnTo>
                <a:lnTo>
                  <a:pt x="0" y="4189514"/>
                </a:lnTo>
                <a:lnTo>
                  <a:pt x="41708" y="3978128"/>
                </a:lnTo>
                <a:cubicBezTo>
                  <a:pt x="176655" y="3462584"/>
                  <a:pt x="497252" y="3007244"/>
                  <a:pt x="951980" y="2706600"/>
                </a:cubicBezTo>
                <a:cubicBezTo>
                  <a:pt x="951980" y="2706600"/>
                  <a:pt x="1826540" y="2027961"/>
                  <a:pt x="4194684" y="1503080"/>
                </a:cubicBezTo>
                <a:cubicBezTo>
                  <a:pt x="4953294" y="1339689"/>
                  <a:pt x="5700260" y="1126614"/>
                  <a:pt x="6430884" y="865153"/>
                </a:cubicBezTo>
                <a:cubicBezTo>
                  <a:pt x="6780513" y="714872"/>
                  <a:pt x="7275863" y="517092"/>
                  <a:pt x="7693093" y="40598"/>
                </a:cubicBezTo>
                <a:close/>
              </a:path>
            </a:pathLst>
          </a:custGeom>
          <a:gradFill>
            <a:gsLst>
              <a:gs pos="30000">
                <a:srgbClr val="D22C25">
                  <a:alpha val="90000"/>
                </a:srgbClr>
              </a:gs>
              <a:gs pos="71000">
                <a:srgbClr val="D22C25">
                  <a:alpha val="70000"/>
                </a:srgbClr>
              </a:gs>
              <a:gs pos="100000">
                <a:srgbClr val="D22C25">
                  <a:alpha val="37000"/>
                </a:srgbClr>
              </a:gs>
            </a:gsLst>
            <a:lin ang="3000000" scaled="0"/>
          </a:gradFill>
          <a:ln w="5002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ja-JP" altLang="en-US"/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E7F803D8-0841-1CF5-F8ED-15846DC12B07}"/>
              </a:ext>
            </a:extLst>
          </p:cNvPr>
          <p:cNvSpPr txBox="1"/>
          <p:nvPr/>
        </p:nvSpPr>
        <p:spPr bwMode="white">
          <a:xfrm>
            <a:off x="4294546" y="5086350"/>
            <a:ext cx="514756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ja-JP" altLang="en-US" sz="3600" b="1" spc="300" dirty="0">
                <a:solidFill>
                  <a:schemeClr val="bg1"/>
                </a:solidFill>
                <a:latin typeface="+mj-ea"/>
                <a:ea typeface="+mj-ea"/>
              </a:rPr>
              <a:t>スープごはん</a:t>
            </a:r>
            <a:r>
              <a:rPr kumimoji="1" lang="ja-JP" altLang="en-US" sz="3600" b="1" dirty="0" smtClean="0">
                <a:solidFill>
                  <a:schemeClr val="bg1"/>
                </a:solidFill>
                <a:latin typeface="+mj-ea"/>
                <a:ea typeface="+mj-ea"/>
              </a:rPr>
              <a:t>の</a:t>
            </a:r>
            <a:r>
              <a:rPr kumimoji="1" lang="ja-JP" altLang="en-US" sz="3600" b="1" spc="300" dirty="0">
                <a:solidFill>
                  <a:schemeClr val="bg1"/>
                </a:solidFill>
                <a:latin typeface="+mj-ea"/>
                <a:ea typeface="+mj-ea"/>
              </a:rPr>
              <a:t>ご提案</a:t>
            </a: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7F1477B0-A48F-3A08-782C-BBC30A6CC532}"/>
              </a:ext>
            </a:extLst>
          </p:cNvPr>
          <p:cNvSpPr txBox="1"/>
          <p:nvPr/>
        </p:nvSpPr>
        <p:spPr bwMode="white">
          <a:xfrm>
            <a:off x="4355489" y="5803579"/>
            <a:ext cx="13660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kumimoji="1" lang="ja-JP" altLang="en-US" b="1" spc="300" dirty="0">
                <a:solidFill>
                  <a:schemeClr val="bg1"/>
                </a:solidFill>
                <a:latin typeface="+mj-ea"/>
                <a:ea typeface="+mj-ea"/>
              </a:rPr>
              <a:t>〇〇</a:t>
            </a:r>
            <a:r>
              <a:rPr kumimoji="1" lang="zh-TW" altLang="en-US" b="1" spc="300" dirty="0" smtClean="0">
                <a:solidFill>
                  <a:schemeClr val="bg1"/>
                </a:solidFill>
                <a:latin typeface="+mj-ea"/>
                <a:ea typeface="+mj-ea"/>
              </a:rPr>
              <a:t> </a:t>
            </a:r>
            <a:r>
              <a:rPr kumimoji="1" lang="ja-JP" altLang="en-US" b="1" spc="300" dirty="0" smtClean="0">
                <a:solidFill>
                  <a:schemeClr val="bg1"/>
                </a:solidFill>
                <a:latin typeface="+mj-ea"/>
                <a:ea typeface="+mj-ea"/>
              </a:rPr>
              <a:t>御中</a:t>
            </a:r>
            <a:endParaRPr kumimoji="1" lang="ja-JP" altLang="en-US" b="1" spc="3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4" name="フリーフォーム: 図形 3">
            <a:extLst>
              <a:ext uri="{FF2B5EF4-FFF2-40B4-BE49-F238E27FC236}">
                <a16:creationId xmlns:a16="http://schemas.microsoft.com/office/drawing/2014/main" id="{01DDF2D0-072D-2754-F20D-EC4514E08F09}"/>
              </a:ext>
            </a:extLst>
          </p:cNvPr>
          <p:cNvSpPr/>
          <p:nvPr/>
        </p:nvSpPr>
        <p:spPr bwMode="white">
          <a:xfrm rot="5400000">
            <a:off x="622765" y="-622765"/>
            <a:ext cx="1687812" cy="2933342"/>
          </a:xfrm>
          <a:custGeom>
            <a:avLst/>
            <a:gdLst>
              <a:gd name="connsiteX0" fmla="*/ 0 w 1687812"/>
              <a:gd name="connsiteY0" fmla="*/ 1672994 h 2933342"/>
              <a:gd name="connsiteX1" fmla="*/ 0 w 1687812"/>
              <a:gd name="connsiteY1" fmla="*/ 0 h 2933342"/>
              <a:gd name="connsiteX2" fmla="*/ 71785 w 1687812"/>
              <a:gd name="connsiteY2" fmla="*/ 5129 h 2933342"/>
              <a:gd name="connsiteX3" fmla="*/ 649289 w 1687812"/>
              <a:gd name="connsiteY3" fmla="*/ 367383 h 2933342"/>
              <a:gd name="connsiteX4" fmla="*/ 1102280 w 1687812"/>
              <a:gd name="connsiteY4" fmla="*/ 1588268 h 2933342"/>
              <a:gd name="connsiteX5" fmla="*/ 1342598 w 1687812"/>
              <a:gd name="connsiteY5" fmla="*/ 2430201 h 2933342"/>
              <a:gd name="connsiteX6" fmla="*/ 1653046 w 1687812"/>
              <a:gd name="connsiteY6" fmla="*/ 2905472 h 2933342"/>
              <a:gd name="connsiteX7" fmla="*/ 1687812 w 1687812"/>
              <a:gd name="connsiteY7" fmla="*/ 2933342 h 2933342"/>
              <a:gd name="connsiteX8" fmla="*/ 1133476 w 1687812"/>
              <a:gd name="connsiteY8" fmla="*/ 2933342 h 2933342"/>
              <a:gd name="connsiteX9" fmla="*/ 535847 w 1687812"/>
              <a:gd name="connsiteY9" fmla="*/ 2933342 h 2933342"/>
              <a:gd name="connsiteX10" fmla="*/ 1 w 1687812"/>
              <a:gd name="connsiteY10" fmla="*/ 2933342 h 2933342"/>
              <a:gd name="connsiteX11" fmla="*/ 1 w 1687812"/>
              <a:gd name="connsiteY11" fmla="*/ 1672998 h 2933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687812" h="2933342">
                <a:moveTo>
                  <a:pt x="0" y="1672994"/>
                </a:moveTo>
                <a:lnTo>
                  <a:pt x="0" y="0"/>
                </a:lnTo>
                <a:lnTo>
                  <a:pt x="71785" y="5129"/>
                </a:lnTo>
                <a:cubicBezTo>
                  <a:pt x="305915" y="36504"/>
                  <a:pt x="517266" y="167522"/>
                  <a:pt x="649289" y="367383"/>
                </a:cubicBezTo>
                <a:cubicBezTo>
                  <a:pt x="649289" y="367383"/>
                  <a:pt x="904798" y="696657"/>
                  <a:pt x="1102280" y="1588268"/>
                </a:cubicBezTo>
                <a:cubicBezTo>
                  <a:pt x="1163880" y="1873884"/>
                  <a:pt x="1244158" y="2155121"/>
                  <a:pt x="1342598" y="2430201"/>
                </a:cubicBezTo>
                <a:cubicBezTo>
                  <a:pt x="1399179" y="2561915"/>
                  <a:pt x="1473644" y="2748407"/>
                  <a:pt x="1653046" y="2905472"/>
                </a:cubicBezTo>
                <a:lnTo>
                  <a:pt x="1687812" y="2933342"/>
                </a:lnTo>
                <a:lnTo>
                  <a:pt x="1133476" y="2933342"/>
                </a:lnTo>
                <a:lnTo>
                  <a:pt x="535847" y="2933342"/>
                </a:lnTo>
                <a:lnTo>
                  <a:pt x="1" y="2933342"/>
                </a:lnTo>
                <a:lnTo>
                  <a:pt x="1" y="167299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kumimoji="1" lang="ja-JP" altLang="en-US"/>
          </a:p>
        </p:txBody>
      </p:sp>
      <p:pic>
        <p:nvPicPr>
          <p:cNvPr id="29" name="グラフィックス 28">
            <a:extLst>
              <a:ext uri="{FF2B5EF4-FFF2-40B4-BE49-F238E27FC236}">
                <a16:creationId xmlns:a16="http://schemas.microsoft.com/office/drawing/2014/main" id="{BD39C069-0B47-56E7-5CC1-F0AFC8BBA75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335280" y="290195"/>
            <a:ext cx="1600200" cy="363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4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4646" y="414157"/>
            <a:ext cx="3474028" cy="424732"/>
          </a:xfrm>
        </p:spPr>
        <p:txBody>
          <a:bodyPr/>
          <a:lstStyle/>
          <a:p>
            <a:r>
              <a:rPr kumimoji="1" lang="en-US" altLang="ja-JP" dirty="0" smtClean="0"/>
              <a:t>One Spoon </a:t>
            </a:r>
            <a:r>
              <a:rPr kumimoji="1" lang="en-US" altLang="ja-JP" dirty="0" err="1" smtClean="0"/>
              <a:t>Gohan</a:t>
            </a:r>
            <a:endParaRPr kumimoji="1" lang="ja-JP" altLang="en-US" dirty="0"/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74C4F-4DC2-4C31-8D08-159129179147}" type="slidenum">
              <a:rPr kumimoji="1" lang="ja-JP" altLang="en-US" smtClean="0"/>
              <a:pPr/>
              <a:t>2</a:t>
            </a:fld>
            <a:endParaRPr kumimoji="1" lang="ja-JP" altLang="en-US" dirty="0"/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BEC1FCAA-E683-BE2F-18EE-02FC363A3096}"/>
              </a:ext>
            </a:extLst>
          </p:cNvPr>
          <p:cNvSpPr txBox="1"/>
          <p:nvPr/>
        </p:nvSpPr>
        <p:spPr>
          <a:xfrm>
            <a:off x="228600" y="121481"/>
            <a:ext cx="1338828" cy="276999"/>
          </a:xfrm>
          <a:prstGeom prst="rect">
            <a:avLst/>
          </a:prstGeom>
          <a:solidFill>
            <a:srgbClr val="FEF2E2"/>
          </a:solidFill>
        </p:spPr>
        <p:txBody>
          <a:bodyPr wrap="none" rtlCol="0">
            <a:spAutoFit/>
          </a:bodyPr>
          <a:lstStyle/>
          <a:p>
            <a:pPr algn="l"/>
            <a:r>
              <a:rPr kumimoji="1" lang="ja-JP" altLang="en-US" sz="1200" b="1" spc="300" dirty="0" smtClean="0">
                <a:solidFill>
                  <a:srgbClr val="D22C25"/>
                </a:solidFill>
                <a:latin typeface="+mj-ea"/>
                <a:ea typeface="+mj-ea"/>
              </a:rPr>
              <a:t>スープごはん</a:t>
            </a:r>
            <a:endParaRPr kumimoji="1" lang="ja-JP" altLang="en-US" sz="1200" b="1" spc="300" dirty="0">
              <a:solidFill>
                <a:srgbClr val="D22C25"/>
              </a:solidFill>
              <a:latin typeface="+mj-ea"/>
              <a:ea typeface="+mj-ea"/>
            </a:endParaRPr>
          </a:p>
        </p:txBody>
      </p:sp>
      <p:sp>
        <p:nvSpPr>
          <p:cNvPr id="6" name="四角形: 角を丸くする 23">
            <a:extLst>
              <a:ext uri="{FF2B5EF4-FFF2-40B4-BE49-F238E27FC236}">
                <a16:creationId xmlns:a16="http://schemas.microsoft.com/office/drawing/2014/main" id="{5D53C2A3-14D1-741A-7E20-40521A713D91}"/>
              </a:ext>
            </a:extLst>
          </p:cNvPr>
          <p:cNvSpPr/>
          <p:nvPr/>
        </p:nvSpPr>
        <p:spPr>
          <a:xfrm>
            <a:off x="232932" y="2299743"/>
            <a:ext cx="9444468" cy="3965160"/>
          </a:xfrm>
          <a:prstGeom prst="roundRect">
            <a:avLst>
              <a:gd name="adj" fmla="val 3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フリーフォーム: 図形 9">
            <a:extLst>
              <a:ext uri="{FF2B5EF4-FFF2-40B4-BE49-F238E27FC236}">
                <a16:creationId xmlns:a16="http://schemas.microsoft.com/office/drawing/2014/main" id="{E3B04EB6-D900-2FE1-131D-824A4A6E0F04}"/>
              </a:ext>
            </a:extLst>
          </p:cNvPr>
          <p:cNvSpPr/>
          <p:nvPr/>
        </p:nvSpPr>
        <p:spPr>
          <a:xfrm>
            <a:off x="288140" y="1037354"/>
            <a:ext cx="702460" cy="778072"/>
          </a:xfrm>
          <a:custGeom>
            <a:avLst/>
            <a:gdLst>
              <a:gd name="connsiteX0" fmla="*/ 1163791 w 1163841"/>
              <a:gd name="connsiteY0" fmla="*/ 435578 h 1289117"/>
              <a:gd name="connsiteX1" fmla="*/ 1163791 w 1163841"/>
              <a:gd name="connsiteY1" fmla="*/ -36 h 1289117"/>
              <a:gd name="connsiteX2" fmla="*/ 889855 w 1163841"/>
              <a:gd name="connsiteY2" fmla="*/ 351359 h 1289117"/>
              <a:gd name="connsiteX3" fmla="*/ 581820 w 1163841"/>
              <a:gd name="connsiteY3" fmla="*/ 439233 h 1289117"/>
              <a:gd name="connsiteX4" fmla="*/ 581820 w 1163841"/>
              <a:gd name="connsiteY4" fmla="*/ 439233 h 1289117"/>
              <a:gd name="connsiteX5" fmla="*/ 135140 w 1163841"/>
              <a:gd name="connsiteY5" fmla="*/ 605017 h 1289117"/>
              <a:gd name="connsiteX6" fmla="*/ -51 w 1163841"/>
              <a:gd name="connsiteY6" fmla="*/ 853467 h 1289117"/>
              <a:gd name="connsiteX7" fmla="*/ -51 w 1163841"/>
              <a:gd name="connsiteY7" fmla="*/ 1289081 h 1289117"/>
              <a:gd name="connsiteX8" fmla="*/ 273886 w 1163841"/>
              <a:gd name="connsiteY8" fmla="*/ 937686 h 1289117"/>
              <a:gd name="connsiteX9" fmla="*/ 581920 w 1163841"/>
              <a:gd name="connsiteY9" fmla="*/ 849762 h 1289117"/>
              <a:gd name="connsiteX10" fmla="*/ 581920 w 1163841"/>
              <a:gd name="connsiteY10" fmla="*/ 849762 h 1289117"/>
              <a:gd name="connsiteX11" fmla="*/ 1028600 w 1163841"/>
              <a:gd name="connsiteY11" fmla="*/ 684028 h 1289117"/>
              <a:gd name="connsiteX12" fmla="*/ 1163791 w 1163841"/>
              <a:gd name="connsiteY12" fmla="*/ 435578 h 1289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63841" h="1289117">
                <a:moveTo>
                  <a:pt x="1163791" y="435578"/>
                </a:moveTo>
                <a:lnTo>
                  <a:pt x="1163791" y="-36"/>
                </a:lnTo>
                <a:cubicBezTo>
                  <a:pt x="1124535" y="257076"/>
                  <a:pt x="975475" y="314557"/>
                  <a:pt x="889855" y="351359"/>
                </a:cubicBezTo>
                <a:cubicBezTo>
                  <a:pt x="789212" y="387375"/>
                  <a:pt x="686318" y="416726"/>
                  <a:pt x="581820" y="439233"/>
                </a:cubicBezTo>
                <a:lnTo>
                  <a:pt x="581820" y="439233"/>
                </a:lnTo>
                <a:cubicBezTo>
                  <a:pt x="255610" y="511535"/>
                  <a:pt x="135140" y="605017"/>
                  <a:pt x="135140" y="605017"/>
                </a:cubicBezTo>
                <a:cubicBezTo>
                  <a:pt x="51622" y="660235"/>
                  <a:pt x="951" y="753336"/>
                  <a:pt x="-51" y="853467"/>
                </a:cubicBezTo>
                <a:lnTo>
                  <a:pt x="-51" y="1289081"/>
                </a:lnTo>
                <a:cubicBezTo>
                  <a:pt x="39205" y="1031969"/>
                  <a:pt x="188215" y="974488"/>
                  <a:pt x="273886" y="937686"/>
                </a:cubicBezTo>
                <a:cubicBezTo>
                  <a:pt x="374528" y="901670"/>
                  <a:pt x="477423" y="872299"/>
                  <a:pt x="581920" y="849762"/>
                </a:cubicBezTo>
                <a:lnTo>
                  <a:pt x="581920" y="849762"/>
                </a:lnTo>
                <a:cubicBezTo>
                  <a:pt x="908130" y="777510"/>
                  <a:pt x="1028600" y="684028"/>
                  <a:pt x="1028600" y="684028"/>
                </a:cubicBezTo>
                <a:cubicBezTo>
                  <a:pt x="1112168" y="628825"/>
                  <a:pt x="1162839" y="535714"/>
                  <a:pt x="1163791" y="435578"/>
                </a:cubicBezTo>
                <a:close/>
              </a:path>
            </a:pathLst>
          </a:custGeom>
          <a:solidFill>
            <a:schemeClr val="bg1"/>
          </a:solidFill>
          <a:ln w="50021" cap="flat">
            <a:noFill/>
            <a:prstDash val="solid"/>
            <a:miter/>
          </a:ln>
        </p:spPr>
        <p:txBody>
          <a:bodyPr rtlCol="0" anchor="ctr"/>
          <a:lstStyle/>
          <a:p>
            <a:endParaRPr lang="ja-JP" altLang="en-US"/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0706DF76-75F3-D6E5-52AE-83D32B48E519}"/>
              </a:ext>
            </a:extLst>
          </p:cNvPr>
          <p:cNvSpPr txBox="1"/>
          <p:nvPr/>
        </p:nvSpPr>
        <p:spPr>
          <a:xfrm>
            <a:off x="361099" y="1182239"/>
            <a:ext cx="9030529" cy="7868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30000"/>
              </a:lnSpc>
            </a:pPr>
            <a:r>
              <a:rPr lang="ja-JP" altLang="en-US" b="1" dirty="0" smtClean="0">
                <a:solidFill>
                  <a:schemeClr val="accent1"/>
                </a:solidFill>
                <a:latin typeface="+mn-ea"/>
                <a:ea typeface="+mn-ea"/>
              </a:rPr>
              <a:t>「朝食の食べ残しが多い」、「朝食の喫食率が低い」などのお困りの声から、</a:t>
            </a:r>
            <a:endParaRPr lang="en-US" altLang="ja-JP" b="1" dirty="0" smtClean="0">
              <a:solidFill>
                <a:schemeClr val="accent1"/>
              </a:solidFill>
              <a:latin typeface="+mn-ea"/>
              <a:ea typeface="+mn-ea"/>
            </a:endParaRPr>
          </a:p>
          <a:p>
            <a:pPr algn="l">
              <a:lnSpc>
                <a:spcPct val="130000"/>
              </a:lnSpc>
            </a:pPr>
            <a:r>
              <a:rPr lang="ja-JP" altLang="en-US" b="1" dirty="0" smtClean="0">
                <a:solidFill>
                  <a:schemeClr val="accent1"/>
                </a:solidFill>
                <a:latin typeface="+mn-ea"/>
                <a:ea typeface="+mn-ea"/>
              </a:rPr>
              <a:t>完食・喫食率の向上を目的とし、朝でも食べやすいメニューをご提案いたします。</a:t>
            </a:r>
            <a:endParaRPr lang="ja-JP" altLang="en-US" b="1" dirty="0">
              <a:solidFill>
                <a:schemeClr val="accent1"/>
              </a:solidFill>
              <a:latin typeface="+mn-ea"/>
              <a:ea typeface="+mn-ea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895DBEC6-B256-F6C3-4E4C-4074B94F9251}"/>
              </a:ext>
            </a:extLst>
          </p:cNvPr>
          <p:cNvSpPr/>
          <p:nvPr/>
        </p:nvSpPr>
        <p:spPr>
          <a:xfrm>
            <a:off x="645476" y="3271102"/>
            <a:ext cx="4079722" cy="5724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200" b="1" dirty="0" smtClean="0">
                <a:latin typeface="+mn-ea"/>
                <a:ea typeface="+mn-ea"/>
              </a:rPr>
              <a:t>スプーン１つで気軽に食べられて、時間のないときにもピッタリのメニューとなっております。</a:t>
            </a:r>
            <a:endParaRPr lang="en-US" altLang="ja-JP" sz="1200" b="1" dirty="0">
              <a:latin typeface="+mn-ea"/>
              <a:ea typeface="+mn-ea"/>
            </a:endParaRPr>
          </a:p>
        </p:txBody>
      </p:sp>
      <p:sp>
        <p:nvSpPr>
          <p:cNvPr id="20" name="角丸四角形 15">
            <a:extLst>
              <a:ext uri="{FF2B5EF4-FFF2-40B4-BE49-F238E27FC236}">
                <a16:creationId xmlns:a16="http://schemas.microsoft.com/office/drawing/2014/main" id="{2AAC1D13-4E01-B27B-C431-142ABBADFD06}"/>
              </a:ext>
            </a:extLst>
          </p:cNvPr>
          <p:cNvSpPr/>
          <p:nvPr/>
        </p:nvSpPr>
        <p:spPr>
          <a:xfrm>
            <a:off x="564287" y="2717070"/>
            <a:ext cx="3779911" cy="472116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b="1" dirty="0" smtClean="0">
                <a:solidFill>
                  <a:schemeClr val="tx1"/>
                </a:solidFill>
                <a:latin typeface="+mn-ea"/>
                <a:ea typeface="+mn-ea"/>
              </a:rPr>
              <a:t>サッと食べられるスープごはん</a:t>
            </a:r>
            <a:endParaRPr lang="en-US" altLang="ja-JP" b="1" dirty="0">
              <a:solidFill>
                <a:schemeClr val="tx1"/>
              </a:solidFill>
              <a:latin typeface="+mn-ea"/>
              <a:ea typeface="+mn-ea"/>
            </a:endParaRPr>
          </a:p>
        </p:txBody>
      </p: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3693F2A9-6280-F3A5-1A45-5B4A9336514C}"/>
              </a:ext>
            </a:extLst>
          </p:cNvPr>
          <p:cNvCxnSpPr/>
          <p:nvPr/>
        </p:nvCxnSpPr>
        <p:spPr>
          <a:xfrm>
            <a:off x="660067" y="3210309"/>
            <a:ext cx="391273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図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287" y="4273162"/>
            <a:ext cx="4160911" cy="907765"/>
          </a:xfrm>
          <a:prstGeom prst="rect">
            <a:avLst/>
          </a:prstGeom>
        </p:spPr>
      </p:pic>
      <p:pic>
        <p:nvPicPr>
          <p:cNvPr id="33" name="図 3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8510" y="2708390"/>
            <a:ext cx="2116280" cy="1401692"/>
          </a:xfrm>
          <a:prstGeom prst="roundRect">
            <a:avLst/>
          </a:prstGeom>
        </p:spPr>
      </p:pic>
      <p:pic>
        <p:nvPicPr>
          <p:cNvPr id="34" name="図 3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8510" y="4453432"/>
            <a:ext cx="2115270" cy="1401023"/>
          </a:xfrm>
          <a:prstGeom prst="roundRect">
            <a:avLst/>
          </a:prstGeom>
        </p:spPr>
      </p:pic>
      <p:pic>
        <p:nvPicPr>
          <p:cNvPr id="35" name="図 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6245" y="4428027"/>
            <a:ext cx="2133600" cy="1413164"/>
          </a:xfrm>
          <a:prstGeom prst="roundRect">
            <a:avLst/>
          </a:prstGeom>
        </p:spPr>
      </p:pic>
      <p:pic>
        <p:nvPicPr>
          <p:cNvPr id="36" name="図 3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8490" y="2724331"/>
            <a:ext cx="2109654" cy="1397304"/>
          </a:xfrm>
          <a:prstGeom prst="roundRect">
            <a:avLst/>
          </a:prstGeom>
        </p:spPr>
      </p:pic>
      <p:sp>
        <p:nvSpPr>
          <p:cNvPr id="37" name="四角形: 上の 2 つの角を丸める 25">
            <a:extLst>
              <a:ext uri="{FF2B5EF4-FFF2-40B4-BE49-F238E27FC236}">
                <a16:creationId xmlns:a16="http://schemas.microsoft.com/office/drawing/2014/main" id="{CBD812FA-0B74-C43C-A6D5-8C6EA316D415}"/>
              </a:ext>
            </a:extLst>
          </p:cNvPr>
          <p:cNvSpPr/>
          <p:nvPr/>
        </p:nvSpPr>
        <p:spPr>
          <a:xfrm>
            <a:off x="5101985" y="3782084"/>
            <a:ext cx="2122805" cy="333894"/>
          </a:xfrm>
          <a:prstGeom prst="round2SameRect">
            <a:avLst>
              <a:gd name="adj1" fmla="val 0"/>
              <a:gd name="adj2" fmla="val 42077"/>
            </a:avLst>
          </a:prstGeom>
          <a:solidFill>
            <a:srgbClr val="D22C25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 dirty="0"/>
          </a:p>
        </p:txBody>
      </p: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D298E856-8EB4-B887-690F-F117D09401BB}"/>
              </a:ext>
            </a:extLst>
          </p:cNvPr>
          <p:cNvSpPr txBox="1"/>
          <p:nvPr/>
        </p:nvSpPr>
        <p:spPr>
          <a:xfrm>
            <a:off x="5254515" y="3818226"/>
            <a:ext cx="18177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100" b="1" dirty="0" smtClean="0">
                <a:solidFill>
                  <a:schemeClr val="bg1"/>
                </a:solidFill>
                <a:latin typeface="+mn-ea"/>
                <a:ea typeface="+mn-ea"/>
              </a:rPr>
              <a:t>デジクッパ</a:t>
            </a:r>
            <a:endParaRPr kumimoji="1" lang="ja-JP" altLang="en-US" sz="1100" b="1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39" name="四角形: 上の 2 つの角を丸める 25">
            <a:extLst>
              <a:ext uri="{FF2B5EF4-FFF2-40B4-BE49-F238E27FC236}">
                <a16:creationId xmlns:a16="http://schemas.microsoft.com/office/drawing/2014/main" id="{CBD812FA-0B74-C43C-A6D5-8C6EA316D415}"/>
              </a:ext>
            </a:extLst>
          </p:cNvPr>
          <p:cNvSpPr/>
          <p:nvPr/>
        </p:nvSpPr>
        <p:spPr>
          <a:xfrm>
            <a:off x="7217000" y="3779785"/>
            <a:ext cx="2122805" cy="333894"/>
          </a:xfrm>
          <a:prstGeom prst="round2SameRect">
            <a:avLst>
              <a:gd name="adj1" fmla="val 0"/>
              <a:gd name="adj2" fmla="val 42077"/>
            </a:avLst>
          </a:prstGeom>
          <a:solidFill>
            <a:srgbClr val="D22C25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 dirty="0"/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D298E856-8EB4-B887-690F-F117D09401BB}"/>
              </a:ext>
            </a:extLst>
          </p:cNvPr>
          <p:cNvSpPr txBox="1"/>
          <p:nvPr/>
        </p:nvSpPr>
        <p:spPr>
          <a:xfrm>
            <a:off x="7305968" y="3815927"/>
            <a:ext cx="1961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100" b="1" dirty="0" smtClean="0">
                <a:solidFill>
                  <a:schemeClr val="bg1"/>
                </a:solidFill>
                <a:latin typeface="+mn-ea"/>
                <a:ea typeface="+mn-ea"/>
              </a:rPr>
              <a:t>とんこつスープごはん</a:t>
            </a:r>
            <a:endParaRPr kumimoji="1" lang="ja-JP" altLang="en-US" sz="1100" b="1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41" name="四角形: 上の 2 つの角を丸める 25">
            <a:extLst>
              <a:ext uri="{FF2B5EF4-FFF2-40B4-BE49-F238E27FC236}">
                <a16:creationId xmlns:a16="http://schemas.microsoft.com/office/drawing/2014/main" id="{CBD812FA-0B74-C43C-A6D5-8C6EA316D415}"/>
              </a:ext>
            </a:extLst>
          </p:cNvPr>
          <p:cNvSpPr/>
          <p:nvPr/>
        </p:nvSpPr>
        <p:spPr>
          <a:xfrm>
            <a:off x="5101790" y="5520561"/>
            <a:ext cx="2122805" cy="333894"/>
          </a:xfrm>
          <a:prstGeom prst="round2SameRect">
            <a:avLst>
              <a:gd name="adj1" fmla="val 0"/>
              <a:gd name="adj2" fmla="val 42077"/>
            </a:avLst>
          </a:prstGeom>
          <a:solidFill>
            <a:srgbClr val="D22C25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 dirty="0"/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D298E856-8EB4-B887-690F-F117D09401BB}"/>
              </a:ext>
            </a:extLst>
          </p:cNvPr>
          <p:cNvSpPr txBox="1"/>
          <p:nvPr/>
        </p:nvSpPr>
        <p:spPr>
          <a:xfrm>
            <a:off x="5195665" y="5476771"/>
            <a:ext cx="19270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100" b="1" dirty="0">
                <a:solidFill>
                  <a:schemeClr val="bg1"/>
                </a:solidFill>
                <a:latin typeface="+mn-ea"/>
                <a:ea typeface="+mn-ea"/>
              </a:rPr>
              <a:t>シャキシャキレタス</a:t>
            </a:r>
            <a:r>
              <a:rPr kumimoji="1" lang="ja-JP" altLang="en-US" sz="1100" b="1" dirty="0" smtClean="0">
                <a:solidFill>
                  <a:schemeClr val="bg1"/>
                </a:solidFill>
                <a:latin typeface="+mn-ea"/>
                <a:ea typeface="+mn-ea"/>
              </a:rPr>
              <a:t>の</a:t>
            </a:r>
            <a:endParaRPr kumimoji="1" lang="en-US" altLang="ja-JP" sz="1100" b="1" dirty="0" smtClean="0">
              <a:solidFill>
                <a:schemeClr val="bg1"/>
              </a:solidFill>
              <a:latin typeface="+mn-ea"/>
              <a:ea typeface="+mn-ea"/>
            </a:endParaRPr>
          </a:p>
          <a:p>
            <a:pPr algn="ctr"/>
            <a:r>
              <a:rPr kumimoji="1" lang="ja-JP" altLang="en-US" sz="1100" b="1" dirty="0" smtClean="0">
                <a:solidFill>
                  <a:schemeClr val="bg1"/>
                </a:solidFill>
                <a:latin typeface="+mn-ea"/>
                <a:ea typeface="+mn-ea"/>
              </a:rPr>
              <a:t>スープごはん</a:t>
            </a:r>
            <a:endParaRPr kumimoji="1" lang="ja-JP" altLang="en-US" sz="1100" b="1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43" name="四角形: 上の 2 つの角を丸める 25">
            <a:extLst>
              <a:ext uri="{FF2B5EF4-FFF2-40B4-BE49-F238E27FC236}">
                <a16:creationId xmlns:a16="http://schemas.microsoft.com/office/drawing/2014/main" id="{CBD812FA-0B74-C43C-A6D5-8C6EA316D415}"/>
              </a:ext>
            </a:extLst>
          </p:cNvPr>
          <p:cNvSpPr/>
          <p:nvPr/>
        </p:nvSpPr>
        <p:spPr>
          <a:xfrm>
            <a:off x="7225410" y="5507165"/>
            <a:ext cx="2122805" cy="333894"/>
          </a:xfrm>
          <a:prstGeom prst="round2SameRect">
            <a:avLst>
              <a:gd name="adj1" fmla="val 0"/>
              <a:gd name="adj2" fmla="val 42077"/>
            </a:avLst>
          </a:prstGeom>
          <a:solidFill>
            <a:srgbClr val="D22C25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 dirty="0"/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D298E856-8EB4-B887-690F-F117D09401BB}"/>
              </a:ext>
            </a:extLst>
          </p:cNvPr>
          <p:cNvSpPr txBox="1"/>
          <p:nvPr/>
        </p:nvSpPr>
        <p:spPr>
          <a:xfrm>
            <a:off x="7255117" y="5555999"/>
            <a:ext cx="20299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100" b="1" dirty="0" smtClean="0">
                <a:solidFill>
                  <a:schemeClr val="bg1"/>
                </a:solidFill>
                <a:latin typeface="+mn-ea"/>
                <a:ea typeface="+mn-ea"/>
              </a:rPr>
              <a:t>酸辣湯スープごはん</a:t>
            </a:r>
            <a:endParaRPr kumimoji="1" lang="ja-JP" altLang="en-US" sz="1100" b="1" dirty="0">
              <a:solidFill>
                <a:schemeClr val="bg1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51720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4646" y="414157"/>
            <a:ext cx="3474028" cy="424732"/>
          </a:xfrm>
        </p:spPr>
        <p:txBody>
          <a:bodyPr/>
          <a:lstStyle/>
          <a:p>
            <a:r>
              <a:rPr kumimoji="1" lang="en-US" altLang="ja-JP" dirty="0" smtClean="0"/>
              <a:t>One Spoon </a:t>
            </a:r>
            <a:r>
              <a:rPr kumimoji="1" lang="en-US" altLang="ja-JP" dirty="0" err="1" smtClean="0"/>
              <a:t>Gohan</a:t>
            </a:r>
            <a:endParaRPr kumimoji="1" lang="ja-JP" altLang="en-US" dirty="0"/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74C4F-4DC2-4C31-8D08-159129179147}" type="slidenum">
              <a:rPr kumimoji="1" lang="ja-JP" altLang="en-US" smtClean="0"/>
              <a:pPr/>
              <a:t>3</a:t>
            </a:fld>
            <a:endParaRPr kumimoji="1" lang="ja-JP" altLang="en-US" dirty="0"/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BEC1FCAA-E683-BE2F-18EE-02FC363A3096}"/>
              </a:ext>
            </a:extLst>
          </p:cNvPr>
          <p:cNvSpPr txBox="1"/>
          <p:nvPr/>
        </p:nvSpPr>
        <p:spPr>
          <a:xfrm>
            <a:off x="228600" y="121481"/>
            <a:ext cx="1338828" cy="276999"/>
          </a:xfrm>
          <a:prstGeom prst="rect">
            <a:avLst/>
          </a:prstGeom>
          <a:solidFill>
            <a:srgbClr val="FEF2E2"/>
          </a:solidFill>
        </p:spPr>
        <p:txBody>
          <a:bodyPr wrap="none" rtlCol="0">
            <a:spAutoFit/>
          </a:bodyPr>
          <a:lstStyle/>
          <a:p>
            <a:pPr algn="l"/>
            <a:r>
              <a:rPr kumimoji="1" lang="ja-JP" altLang="en-US" sz="1200" b="1" spc="300" dirty="0" smtClean="0">
                <a:solidFill>
                  <a:srgbClr val="D22C25"/>
                </a:solidFill>
                <a:latin typeface="+mj-ea"/>
                <a:ea typeface="+mj-ea"/>
              </a:rPr>
              <a:t>スープごはん</a:t>
            </a:r>
            <a:endParaRPr kumimoji="1" lang="ja-JP" altLang="en-US" sz="1200" b="1" spc="300" dirty="0">
              <a:solidFill>
                <a:srgbClr val="D22C25"/>
              </a:solidFill>
              <a:latin typeface="+mj-ea"/>
              <a:ea typeface="+mj-ea"/>
            </a:endParaRPr>
          </a:p>
        </p:txBody>
      </p:sp>
      <p:sp>
        <p:nvSpPr>
          <p:cNvPr id="6" name="四角形: 角を丸くする 23">
            <a:extLst>
              <a:ext uri="{FF2B5EF4-FFF2-40B4-BE49-F238E27FC236}">
                <a16:creationId xmlns:a16="http://schemas.microsoft.com/office/drawing/2014/main" id="{5D53C2A3-14D1-741A-7E20-40521A713D91}"/>
              </a:ext>
            </a:extLst>
          </p:cNvPr>
          <p:cNvSpPr/>
          <p:nvPr/>
        </p:nvSpPr>
        <p:spPr>
          <a:xfrm>
            <a:off x="191196" y="2338119"/>
            <a:ext cx="9448255" cy="3965160"/>
          </a:xfrm>
          <a:prstGeom prst="roundRect">
            <a:avLst>
              <a:gd name="adj" fmla="val 3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フリーフォーム: 図形 9">
            <a:extLst>
              <a:ext uri="{FF2B5EF4-FFF2-40B4-BE49-F238E27FC236}">
                <a16:creationId xmlns:a16="http://schemas.microsoft.com/office/drawing/2014/main" id="{E3B04EB6-D900-2FE1-131D-824A4A6E0F04}"/>
              </a:ext>
            </a:extLst>
          </p:cNvPr>
          <p:cNvSpPr/>
          <p:nvPr/>
        </p:nvSpPr>
        <p:spPr>
          <a:xfrm>
            <a:off x="914400" y="1037354"/>
            <a:ext cx="640410" cy="778072"/>
          </a:xfrm>
          <a:custGeom>
            <a:avLst/>
            <a:gdLst>
              <a:gd name="connsiteX0" fmla="*/ 1163791 w 1163841"/>
              <a:gd name="connsiteY0" fmla="*/ 435578 h 1289117"/>
              <a:gd name="connsiteX1" fmla="*/ 1163791 w 1163841"/>
              <a:gd name="connsiteY1" fmla="*/ -36 h 1289117"/>
              <a:gd name="connsiteX2" fmla="*/ 889855 w 1163841"/>
              <a:gd name="connsiteY2" fmla="*/ 351359 h 1289117"/>
              <a:gd name="connsiteX3" fmla="*/ 581820 w 1163841"/>
              <a:gd name="connsiteY3" fmla="*/ 439233 h 1289117"/>
              <a:gd name="connsiteX4" fmla="*/ 581820 w 1163841"/>
              <a:gd name="connsiteY4" fmla="*/ 439233 h 1289117"/>
              <a:gd name="connsiteX5" fmla="*/ 135140 w 1163841"/>
              <a:gd name="connsiteY5" fmla="*/ 605017 h 1289117"/>
              <a:gd name="connsiteX6" fmla="*/ -51 w 1163841"/>
              <a:gd name="connsiteY6" fmla="*/ 853467 h 1289117"/>
              <a:gd name="connsiteX7" fmla="*/ -51 w 1163841"/>
              <a:gd name="connsiteY7" fmla="*/ 1289081 h 1289117"/>
              <a:gd name="connsiteX8" fmla="*/ 273886 w 1163841"/>
              <a:gd name="connsiteY8" fmla="*/ 937686 h 1289117"/>
              <a:gd name="connsiteX9" fmla="*/ 581920 w 1163841"/>
              <a:gd name="connsiteY9" fmla="*/ 849762 h 1289117"/>
              <a:gd name="connsiteX10" fmla="*/ 581920 w 1163841"/>
              <a:gd name="connsiteY10" fmla="*/ 849762 h 1289117"/>
              <a:gd name="connsiteX11" fmla="*/ 1028600 w 1163841"/>
              <a:gd name="connsiteY11" fmla="*/ 684028 h 1289117"/>
              <a:gd name="connsiteX12" fmla="*/ 1163791 w 1163841"/>
              <a:gd name="connsiteY12" fmla="*/ 435578 h 1289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63841" h="1289117">
                <a:moveTo>
                  <a:pt x="1163791" y="435578"/>
                </a:moveTo>
                <a:lnTo>
                  <a:pt x="1163791" y="-36"/>
                </a:lnTo>
                <a:cubicBezTo>
                  <a:pt x="1124535" y="257076"/>
                  <a:pt x="975475" y="314557"/>
                  <a:pt x="889855" y="351359"/>
                </a:cubicBezTo>
                <a:cubicBezTo>
                  <a:pt x="789212" y="387375"/>
                  <a:pt x="686318" y="416726"/>
                  <a:pt x="581820" y="439233"/>
                </a:cubicBezTo>
                <a:lnTo>
                  <a:pt x="581820" y="439233"/>
                </a:lnTo>
                <a:cubicBezTo>
                  <a:pt x="255610" y="511535"/>
                  <a:pt x="135140" y="605017"/>
                  <a:pt x="135140" y="605017"/>
                </a:cubicBezTo>
                <a:cubicBezTo>
                  <a:pt x="51622" y="660235"/>
                  <a:pt x="951" y="753336"/>
                  <a:pt x="-51" y="853467"/>
                </a:cubicBezTo>
                <a:lnTo>
                  <a:pt x="-51" y="1289081"/>
                </a:lnTo>
                <a:cubicBezTo>
                  <a:pt x="39205" y="1031969"/>
                  <a:pt x="188215" y="974488"/>
                  <a:pt x="273886" y="937686"/>
                </a:cubicBezTo>
                <a:cubicBezTo>
                  <a:pt x="374528" y="901670"/>
                  <a:pt x="477423" y="872299"/>
                  <a:pt x="581920" y="849762"/>
                </a:cubicBezTo>
                <a:lnTo>
                  <a:pt x="581920" y="849762"/>
                </a:lnTo>
                <a:cubicBezTo>
                  <a:pt x="908130" y="777510"/>
                  <a:pt x="1028600" y="684028"/>
                  <a:pt x="1028600" y="684028"/>
                </a:cubicBezTo>
                <a:cubicBezTo>
                  <a:pt x="1112168" y="628825"/>
                  <a:pt x="1162839" y="535714"/>
                  <a:pt x="1163791" y="435578"/>
                </a:cubicBezTo>
                <a:close/>
              </a:path>
            </a:pathLst>
          </a:custGeom>
          <a:solidFill>
            <a:schemeClr val="bg1"/>
          </a:solidFill>
          <a:ln w="50021" cap="flat">
            <a:noFill/>
            <a:prstDash val="solid"/>
            <a:miter/>
          </a:ln>
        </p:spPr>
        <p:txBody>
          <a:bodyPr rtlCol="0" anchor="ctr"/>
          <a:lstStyle/>
          <a:p>
            <a:endParaRPr lang="ja-JP" altLang="en-US"/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0706DF76-75F3-D6E5-52AE-83D32B48E519}"/>
              </a:ext>
            </a:extLst>
          </p:cNvPr>
          <p:cNvSpPr txBox="1"/>
          <p:nvPr/>
        </p:nvSpPr>
        <p:spPr>
          <a:xfrm>
            <a:off x="987359" y="1182239"/>
            <a:ext cx="8232841" cy="8125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30000"/>
              </a:lnSpc>
            </a:pPr>
            <a:r>
              <a:rPr lang="ja-JP" altLang="en-US" b="1" dirty="0" smtClean="0">
                <a:solidFill>
                  <a:schemeClr val="accent1"/>
                </a:solidFill>
                <a:latin typeface="+mn-ea"/>
                <a:ea typeface="+mn-ea"/>
              </a:rPr>
              <a:t>スプーン１つで気軽に食べられて、時間のないときにもピッタリの</a:t>
            </a:r>
            <a:endParaRPr lang="en-US" altLang="ja-JP" b="1" dirty="0" smtClean="0">
              <a:solidFill>
                <a:schemeClr val="accent1"/>
              </a:solidFill>
              <a:latin typeface="+mn-ea"/>
              <a:ea typeface="+mn-ea"/>
            </a:endParaRPr>
          </a:p>
          <a:p>
            <a:pPr algn="l">
              <a:lnSpc>
                <a:spcPct val="130000"/>
              </a:lnSpc>
            </a:pPr>
            <a:r>
              <a:rPr lang="ja-JP" altLang="en-US" b="1" dirty="0" smtClean="0">
                <a:solidFill>
                  <a:schemeClr val="accent1"/>
                </a:solidFill>
                <a:latin typeface="+mn-ea"/>
                <a:ea typeface="+mn-ea"/>
              </a:rPr>
              <a:t>メニューをご提案いたします。</a:t>
            </a:r>
            <a:endParaRPr lang="ja-JP" altLang="en-US" b="1" dirty="0">
              <a:solidFill>
                <a:schemeClr val="accent1"/>
              </a:solidFill>
              <a:latin typeface="+mn-ea"/>
              <a:ea typeface="+mn-ea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895DBEC6-B256-F6C3-4E4C-4074B94F9251}"/>
              </a:ext>
            </a:extLst>
          </p:cNvPr>
          <p:cNvSpPr/>
          <p:nvPr/>
        </p:nvSpPr>
        <p:spPr>
          <a:xfrm>
            <a:off x="492278" y="3671804"/>
            <a:ext cx="4079722" cy="10525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200" b="1" dirty="0" smtClean="0">
                <a:latin typeface="+mn-ea"/>
                <a:ea typeface="+mn-ea"/>
              </a:rPr>
              <a:t>ほっこりとからだを温めるスープと、お米の</a:t>
            </a:r>
            <a:r>
              <a:rPr lang="ja-JP" altLang="en-US" sz="1200" b="1" dirty="0" smtClean="0">
                <a:solidFill>
                  <a:schemeClr val="tx1"/>
                </a:solidFill>
                <a:latin typeface="+mn-ea"/>
                <a:ea typeface="+mn-ea"/>
              </a:rPr>
              <a:t>ふんわりとした食感が</a:t>
            </a:r>
            <a:r>
              <a:rPr lang="ja-JP" altLang="en-US" sz="1200" b="1" dirty="0" smtClean="0">
                <a:latin typeface="+mn-ea"/>
                <a:ea typeface="+mn-ea"/>
              </a:rPr>
              <a:t>見事にマッチした、心温まる一品です。スープが食欲をそそり、スプーン１つでお手軽にお腹も満たされます。</a:t>
            </a:r>
            <a:endParaRPr lang="en-US" altLang="ja-JP" sz="1200" b="1" dirty="0" smtClean="0">
              <a:latin typeface="+mn-ea"/>
              <a:ea typeface="+mn-ea"/>
            </a:endParaRPr>
          </a:p>
        </p:txBody>
      </p:sp>
      <p:pic>
        <p:nvPicPr>
          <p:cNvPr id="16" name="図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8510" y="2708390"/>
            <a:ext cx="2116280" cy="1401692"/>
          </a:xfrm>
          <a:prstGeom prst="roundRect">
            <a:avLst/>
          </a:prstGeom>
        </p:spPr>
      </p:pic>
      <p:pic>
        <p:nvPicPr>
          <p:cNvPr id="17" name="図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8510" y="4453432"/>
            <a:ext cx="2115270" cy="1401023"/>
          </a:xfrm>
          <a:prstGeom prst="roundRect">
            <a:avLst/>
          </a:prstGeom>
        </p:spPr>
      </p:pic>
      <p:pic>
        <p:nvPicPr>
          <p:cNvPr id="18" name="図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6245" y="4428027"/>
            <a:ext cx="2133600" cy="1413164"/>
          </a:xfrm>
          <a:prstGeom prst="roundRect">
            <a:avLst/>
          </a:prstGeom>
        </p:spPr>
      </p:pic>
      <p:pic>
        <p:nvPicPr>
          <p:cNvPr id="19" name="図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8490" y="2724331"/>
            <a:ext cx="2109654" cy="1397304"/>
          </a:xfrm>
          <a:prstGeom prst="roundRect">
            <a:avLst/>
          </a:prstGeom>
        </p:spPr>
      </p:pic>
      <p:sp>
        <p:nvSpPr>
          <p:cNvPr id="20" name="角丸四角形 15">
            <a:extLst>
              <a:ext uri="{FF2B5EF4-FFF2-40B4-BE49-F238E27FC236}">
                <a16:creationId xmlns:a16="http://schemas.microsoft.com/office/drawing/2014/main" id="{2AAC1D13-4E01-B27B-C431-142ABBADFD06}"/>
              </a:ext>
            </a:extLst>
          </p:cNvPr>
          <p:cNvSpPr/>
          <p:nvPr/>
        </p:nvSpPr>
        <p:spPr>
          <a:xfrm>
            <a:off x="411089" y="3117772"/>
            <a:ext cx="4160911" cy="500563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b="1" dirty="0" smtClean="0">
                <a:solidFill>
                  <a:schemeClr val="tx1"/>
                </a:solidFill>
                <a:latin typeface="+mn-ea"/>
                <a:ea typeface="+mn-ea"/>
              </a:rPr>
              <a:t>サッと食べられてお腹もこころも満足</a:t>
            </a:r>
            <a:endParaRPr lang="en-US" altLang="ja-JP" b="1" dirty="0">
              <a:solidFill>
                <a:schemeClr val="tx1"/>
              </a:solidFill>
              <a:latin typeface="+mn-ea"/>
              <a:ea typeface="+mn-ea"/>
            </a:endParaRPr>
          </a:p>
        </p:txBody>
      </p: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3693F2A9-6280-F3A5-1A45-5B4A9336514C}"/>
              </a:ext>
            </a:extLst>
          </p:cNvPr>
          <p:cNvCxnSpPr/>
          <p:nvPr/>
        </p:nvCxnSpPr>
        <p:spPr>
          <a:xfrm>
            <a:off x="506869" y="3611011"/>
            <a:ext cx="406513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四角形: 上の 2 つの角を丸める 25">
            <a:extLst>
              <a:ext uri="{FF2B5EF4-FFF2-40B4-BE49-F238E27FC236}">
                <a16:creationId xmlns:a16="http://schemas.microsoft.com/office/drawing/2014/main" id="{CBD812FA-0B74-C43C-A6D5-8C6EA316D415}"/>
              </a:ext>
            </a:extLst>
          </p:cNvPr>
          <p:cNvSpPr/>
          <p:nvPr/>
        </p:nvSpPr>
        <p:spPr>
          <a:xfrm>
            <a:off x="5101985" y="3782084"/>
            <a:ext cx="2122805" cy="333894"/>
          </a:xfrm>
          <a:prstGeom prst="round2SameRect">
            <a:avLst>
              <a:gd name="adj1" fmla="val 0"/>
              <a:gd name="adj2" fmla="val 42077"/>
            </a:avLst>
          </a:prstGeom>
          <a:solidFill>
            <a:srgbClr val="D22C25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 dirty="0"/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D298E856-8EB4-B887-690F-F117D09401BB}"/>
              </a:ext>
            </a:extLst>
          </p:cNvPr>
          <p:cNvSpPr txBox="1"/>
          <p:nvPr/>
        </p:nvSpPr>
        <p:spPr>
          <a:xfrm>
            <a:off x="5254515" y="3818226"/>
            <a:ext cx="18177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100" b="1" dirty="0" smtClean="0">
                <a:solidFill>
                  <a:schemeClr val="bg1"/>
                </a:solidFill>
                <a:latin typeface="+mn-ea"/>
                <a:ea typeface="+mn-ea"/>
              </a:rPr>
              <a:t>デジクッパ</a:t>
            </a:r>
            <a:endParaRPr kumimoji="1" lang="ja-JP" altLang="en-US" sz="1100" b="1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6" name="四角形: 上の 2 つの角を丸める 25">
            <a:extLst>
              <a:ext uri="{FF2B5EF4-FFF2-40B4-BE49-F238E27FC236}">
                <a16:creationId xmlns:a16="http://schemas.microsoft.com/office/drawing/2014/main" id="{CBD812FA-0B74-C43C-A6D5-8C6EA316D415}"/>
              </a:ext>
            </a:extLst>
          </p:cNvPr>
          <p:cNvSpPr/>
          <p:nvPr/>
        </p:nvSpPr>
        <p:spPr>
          <a:xfrm>
            <a:off x="7217000" y="3779785"/>
            <a:ext cx="2122805" cy="333894"/>
          </a:xfrm>
          <a:prstGeom prst="round2SameRect">
            <a:avLst>
              <a:gd name="adj1" fmla="val 0"/>
              <a:gd name="adj2" fmla="val 42077"/>
            </a:avLst>
          </a:prstGeom>
          <a:solidFill>
            <a:srgbClr val="D22C25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 dirty="0"/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D298E856-8EB4-B887-690F-F117D09401BB}"/>
              </a:ext>
            </a:extLst>
          </p:cNvPr>
          <p:cNvSpPr txBox="1"/>
          <p:nvPr/>
        </p:nvSpPr>
        <p:spPr>
          <a:xfrm>
            <a:off x="7305968" y="3815927"/>
            <a:ext cx="1961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100" b="1" dirty="0" smtClean="0">
                <a:solidFill>
                  <a:schemeClr val="bg1"/>
                </a:solidFill>
                <a:latin typeface="+mn-ea"/>
                <a:ea typeface="+mn-ea"/>
              </a:rPr>
              <a:t>とんこつスープごはん</a:t>
            </a:r>
            <a:endParaRPr kumimoji="1" lang="ja-JP" altLang="en-US" sz="1100" b="1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28" name="四角形: 上の 2 つの角を丸める 25">
            <a:extLst>
              <a:ext uri="{FF2B5EF4-FFF2-40B4-BE49-F238E27FC236}">
                <a16:creationId xmlns:a16="http://schemas.microsoft.com/office/drawing/2014/main" id="{CBD812FA-0B74-C43C-A6D5-8C6EA316D415}"/>
              </a:ext>
            </a:extLst>
          </p:cNvPr>
          <p:cNvSpPr/>
          <p:nvPr/>
        </p:nvSpPr>
        <p:spPr>
          <a:xfrm>
            <a:off x="5101790" y="5520561"/>
            <a:ext cx="2122805" cy="333894"/>
          </a:xfrm>
          <a:prstGeom prst="round2SameRect">
            <a:avLst>
              <a:gd name="adj1" fmla="val 0"/>
              <a:gd name="adj2" fmla="val 42077"/>
            </a:avLst>
          </a:prstGeom>
          <a:solidFill>
            <a:srgbClr val="D22C25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 dirty="0"/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D298E856-8EB4-B887-690F-F117D09401BB}"/>
              </a:ext>
            </a:extLst>
          </p:cNvPr>
          <p:cNvSpPr txBox="1"/>
          <p:nvPr/>
        </p:nvSpPr>
        <p:spPr>
          <a:xfrm>
            <a:off x="5195665" y="5476771"/>
            <a:ext cx="19270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100" b="1" dirty="0">
                <a:solidFill>
                  <a:schemeClr val="bg1"/>
                </a:solidFill>
                <a:latin typeface="+mn-ea"/>
                <a:ea typeface="+mn-ea"/>
              </a:rPr>
              <a:t>シャキシャキレタス</a:t>
            </a:r>
            <a:r>
              <a:rPr kumimoji="1" lang="ja-JP" altLang="en-US" sz="1100" b="1" dirty="0" smtClean="0">
                <a:solidFill>
                  <a:schemeClr val="bg1"/>
                </a:solidFill>
                <a:latin typeface="+mn-ea"/>
                <a:ea typeface="+mn-ea"/>
              </a:rPr>
              <a:t>の</a:t>
            </a:r>
            <a:endParaRPr kumimoji="1" lang="en-US" altLang="ja-JP" sz="1100" b="1" dirty="0" smtClean="0">
              <a:solidFill>
                <a:schemeClr val="bg1"/>
              </a:solidFill>
              <a:latin typeface="+mn-ea"/>
              <a:ea typeface="+mn-ea"/>
            </a:endParaRPr>
          </a:p>
          <a:p>
            <a:pPr algn="ctr"/>
            <a:r>
              <a:rPr kumimoji="1" lang="ja-JP" altLang="en-US" sz="1100" b="1" dirty="0" smtClean="0">
                <a:solidFill>
                  <a:schemeClr val="bg1"/>
                </a:solidFill>
                <a:latin typeface="+mn-ea"/>
                <a:ea typeface="+mn-ea"/>
              </a:rPr>
              <a:t>スープごはん</a:t>
            </a:r>
            <a:endParaRPr kumimoji="1" lang="ja-JP" altLang="en-US" sz="1100" b="1" dirty="0">
              <a:solidFill>
                <a:schemeClr val="bg1"/>
              </a:solidFill>
              <a:latin typeface="+mn-ea"/>
              <a:ea typeface="+mn-ea"/>
            </a:endParaRPr>
          </a:p>
        </p:txBody>
      </p:sp>
      <p:sp>
        <p:nvSpPr>
          <p:cNvPr id="30" name="四角形: 上の 2 つの角を丸める 25">
            <a:extLst>
              <a:ext uri="{FF2B5EF4-FFF2-40B4-BE49-F238E27FC236}">
                <a16:creationId xmlns:a16="http://schemas.microsoft.com/office/drawing/2014/main" id="{CBD812FA-0B74-C43C-A6D5-8C6EA316D415}"/>
              </a:ext>
            </a:extLst>
          </p:cNvPr>
          <p:cNvSpPr/>
          <p:nvPr/>
        </p:nvSpPr>
        <p:spPr>
          <a:xfrm>
            <a:off x="7225410" y="5507165"/>
            <a:ext cx="2122805" cy="333894"/>
          </a:xfrm>
          <a:prstGeom prst="round2SameRect">
            <a:avLst>
              <a:gd name="adj1" fmla="val 0"/>
              <a:gd name="adj2" fmla="val 42077"/>
            </a:avLst>
          </a:prstGeom>
          <a:solidFill>
            <a:srgbClr val="D22C25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400" dirty="0"/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D298E856-8EB4-B887-690F-F117D09401BB}"/>
              </a:ext>
            </a:extLst>
          </p:cNvPr>
          <p:cNvSpPr txBox="1"/>
          <p:nvPr/>
        </p:nvSpPr>
        <p:spPr>
          <a:xfrm>
            <a:off x="7255117" y="5555999"/>
            <a:ext cx="20299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100" b="1" dirty="0" smtClean="0">
                <a:solidFill>
                  <a:schemeClr val="bg1"/>
                </a:solidFill>
                <a:latin typeface="+mn-ea"/>
                <a:ea typeface="+mn-ea"/>
              </a:rPr>
              <a:t>酸辣湯スープごはん</a:t>
            </a:r>
            <a:endParaRPr kumimoji="1" lang="ja-JP" altLang="en-US" sz="1100" b="1" dirty="0">
              <a:solidFill>
                <a:schemeClr val="bg1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54726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4646" y="414157"/>
            <a:ext cx="3647152" cy="424732"/>
          </a:xfrm>
        </p:spPr>
        <p:txBody>
          <a:bodyPr/>
          <a:lstStyle/>
          <a:p>
            <a:r>
              <a:rPr kumimoji="1" lang="ja-JP" altLang="en-US" dirty="0" smtClean="0"/>
              <a:t>ポスター掲示について</a:t>
            </a:r>
            <a:endParaRPr kumimoji="1" lang="ja-JP" altLang="en-US" dirty="0"/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74C4F-4DC2-4C31-8D08-159129179147}" type="slidenum">
              <a:rPr kumimoji="1" lang="ja-JP" altLang="en-US" smtClean="0"/>
              <a:pPr/>
              <a:t>4</a:t>
            </a:fld>
            <a:endParaRPr kumimoji="1" lang="ja-JP" altLang="en-US" dirty="0"/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BEC1FCAA-E683-BE2F-18EE-02FC363A3096}"/>
              </a:ext>
            </a:extLst>
          </p:cNvPr>
          <p:cNvSpPr txBox="1"/>
          <p:nvPr/>
        </p:nvSpPr>
        <p:spPr>
          <a:xfrm>
            <a:off x="174646" y="116738"/>
            <a:ext cx="1338828" cy="276999"/>
          </a:xfrm>
          <a:prstGeom prst="rect">
            <a:avLst/>
          </a:prstGeom>
          <a:solidFill>
            <a:srgbClr val="FEF2E2"/>
          </a:solidFill>
        </p:spPr>
        <p:txBody>
          <a:bodyPr wrap="none" rtlCol="0">
            <a:spAutoFit/>
          </a:bodyPr>
          <a:lstStyle/>
          <a:p>
            <a:pPr algn="l"/>
            <a:r>
              <a:rPr kumimoji="1" lang="ja-JP" altLang="en-US" sz="1200" b="1" spc="300" dirty="0" smtClean="0">
                <a:solidFill>
                  <a:srgbClr val="D22C25"/>
                </a:solidFill>
                <a:latin typeface="+mj-ea"/>
                <a:ea typeface="+mj-ea"/>
              </a:rPr>
              <a:t>スープごはん</a:t>
            </a:r>
            <a:endParaRPr kumimoji="1" lang="ja-JP" altLang="en-US" sz="1200" b="1" spc="300" dirty="0">
              <a:solidFill>
                <a:srgbClr val="D22C25"/>
              </a:solidFill>
              <a:latin typeface="+mj-ea"/>
              <a:ea typeface="+mj-ea"/>
            </a:endParaRPr>
          </a:p>
        </p:txBody>
      </p:sp>
      <p:sp>
        <p:nvSpPr>
          <p:cNvPr id="12" name="フリーフォーム: 図形 25">
            <a:extLst>
              <a:ext uri="{FF2B5EF4-FFF2-40B4-BE49-F238E27FC236}">
                <a16:creationId xmlns:a16="http://schemas.microsoft.com/office/drawing/2014/main" id="{01445575-139A-4150-A233-972F91649E69}"/>
              </a:ext>
            </a:extLst>
          </p:cNvPr>
          <p:cNvSpPr/>
          <p:nvPr/>
        </p:nvSpPr>
        <p:spPr>
          <a:xfrm>
            <a:off x="1910272" y="1876786"/>
            <a:ext cx="1970783" cy="272638"/>
          </a:xfrm>
          <a:custGeom>
            <a:avLst/>
            <a:gdLst>
              <a:gd name="connsiteX0" fmla="*/ 372615 w 3978771"/>
              <a:gd name="connsiteY0" fmla="*/ 71068 h 1080823"/>
              <a:gd name="connsiteX1" fmla="*/ 86865 w 3978771"/>
              <a:gd name="connsiteY1" fmla="*/ 499693 h 1080823"/>
              <a:gd name="connsiteX2" fmla="*/ 1725165 w 3978771"/>
              <a:gd name="connsiteY2" fmla="*/ 709243 h 1080823"/>
              <a:gd name="connsiteX3" fmla="*/ 1382265 w 3978771"/>
              <a:gd name="connsiteY3" fmla="*/ 1080718 h 1080823"/>
              <a:gd name="connsiteX4" fmla="*/ 2172840 w 3978771"/>
              <a:gd name="connsiteY4" fmla="*/ 671143 h 1080823"/>
              <a:gd name="connsiteX5" fmla="*/ 3868290 w 3978771"/>
              <a:gd name="connsiteY5" fmla="*/ 509218 h 1080823"/>
              <a:gd name="connsiteX6" fmla="*/ 3687315 w 3978771"/>
              <a:gd name="connsiteY6" fmla="*/ 13918 h 1080823"/>
              <a:gd name="connsiteX7" fmla="*/ 2658615 w 3978771"/>
              <a:gd name="connsiteY7" fmla="*/ 185368 h 1080823"/>
              <a:gd name="connsiteX0" fmla="*/ 379769 w 3976400"/>
              <a:gd name="connsiteY0" fmla="*/ 55193 h 1080823"/>
              <a:gd name="connsiteX1" fmla="*/ 84494 w 3976400"/>
              <a:gd name="connsiteY1" fmla="*/ 499693 h 1080823"/>
              <a:gd name="connsiteX2" fmla="*/ 1722794 w 3976400"/>
              <a:gd name="connsiteY2" fmla="*/ 709243 h 1080823"/>
              <a:gd name="connsiteX3" fmla="*/ 1379894 w 3976400"/>
              <a:gd name="connsiteY3" fmla="*/ 1080718 h 1080823"/>
              <a:gd name="connsiteX4" fmla="*/ 2170469 w 3976400"/>
              <a:gd name="connsiteY4" fmla="*/ 671143 h 1080823"/>
              <a:gd name="connsiteX5" fmla="*/ 3865919 w 3976400"/>
              <a:gd name="connsiteY5" fmla="*/ 509218 h 1080823"/>
              <a:gd name="connsiteX6" fmla="*/ 3684944 w 3976400"/>
              <a:gd name="connsiteY6" fmla="*/ 13918 h 1080823"/>
              <a:gd name="connsiteX7" fmla="*/ 2656244 w 3976400"/>
              <a:gd name="connsiteY7" fmla="*/ 185368 h 1080823"/>
              <a:gd name="connsiteX0" fmla="*/ 382402 w 3979033"/>
              <a:gd name="connsiteY0" fmla="*/ 55193 h 1080823"/>
              <a:gd name="connsiteX1" fmla="*/ 241673 w 3979033"/>
              <a:gd name="connsiteY1" fmla="*/ 112364 h 1080823"/>
              <a:gd name="connsiteX2" fmla="*/ 87127 w 3979033"/>
              <a:gd name="connsiteY2" fmla="*/ 499693 h 1080823"/>
              <a:gd name="connsiteX3" fmla="*/ 1725427 w 3979033"/>
              <a:gd name="connsiteY3" fmla="*/ 709243 h 1080823"/>
              <a:gd name="connsiteX4" fmla="*/ 1382527 w 3979033"/>
              <a:gd name="connsiteY4" fmla="*/ 1080718 h 1080823"/>
              <a:gd name="connsiteX5" fmla="*/ 2173102 w 3979033"/>
              <a:gd name="connsiteY5" fmla="*/ 671143 h 1080823"/>
              <a:gd name="connsiteX6" fmla="*/ 3868552 w 3979033"/>
              <a:gd name="connsiteY6" fmla="*/ 509218 h 1080823"/>
              <a:gd name="connsiteX7" fmla="*/ 3687577 w 3979033"/>
              <a:gd name="connsiteY7" fmla="*/ 13918 h 1080823"/>
              <a:gd name="connsiteX8" fmla="*/ 2658877 w 3979033"/>
              <a:gd name="connsiteY8" fmla="*/ 185368 h 1080823"/>
              <a:gd name="connsiteX0" fmla="*/ 480827 w 3979033"/>
              <a:gd name="connsiteY0" fmla="*/ 137743 h 1080823"/>
              <a:gd name="connsiteX1" fmla="*/ 241673 w 3979033"/>
              <a:gd name="connsiteY1" fmla="*/ 112364 h 1080823"/>
              <a:gd name="connsiteX2" fmla="*/ 87127 w 3979033"/>
              <a:gd name="connsiteY2" fmla="*/ 499693 h 1080823"/>
              <a:gd name="connsiteX3" fmla="*/ 1725427 w 3979033"/>
              <a:gd name="connsiteY3" fmla="*/ 709243 h 1080823"/>
              <a:gd name="connsiteX4" fmla="*/ 1382527 w 3979033"/>
              <a:gd name="connsiteY4" fmla="*/ 1080718 h 1080823"/>
              <a:gd name="connsiteX5" fmla="*/ 2173102 w 3979033"/>
              <a:gd name="connsiteY5" fmla="*/ 671143 h 1080823"/>
              <a:gd name="connsiteX6" fmla="*/ 3868552 w 3979033"/>
              <a:gd name="connsiteY6" fmla="*/ 509218 h 1080823"/>
              <a:gd name="connsiteX7" fmla="*/ 3687577 w 3979033"/>
              <a:gd name="connsiteY7" fmla="*/ 13918 h 1080823"/>
              <a:gd name="connsiteX8" fmla="*/ 2658877 w 3979033"/>
              <a:gd name="connsiteY8" fmla="*/ 185368 h 1080823"/>
              <a:gd name="connsiteX0" fmla="*/ 487187 w 3985393"/>
              <a:gd name="connsiteY0" fmla="*/ 137743 h 1080823"/>
              <a:gd name="connsiteX1" fmla="*/ 248033 w 3985393"/>
              <a:gd name="connsiteY1" fmla="*/ 112364 h 1080823"/>
              <a:gd name="connsiteX2" fmla="*/ 93487 w 3985393"/>
              <a:gd name="connsiteY2" fmla="*/ 499693 h 1080823"/>
              <a:gd name="connsiteX3" fmla="*/ 1731787 w 3985393"/>
              <a:gd name="connsiteY3" fmla="*/ 709243 h 1080823"/>
              <a:gd name="connsiteX4" fmla="*/ 1388887 w 3985393"/>
              <a:gd name="connsiteY4" fmla="*/ 1080718 h 1080823"/>
              <a:gd name="connsiteX5" fmla="*/ 2179462 w 3985393"/>
              <a:gd name="connsiteY5" fmla="*/ 671143 h 1080823"/>
              <a:gd name="connsiteX6" fmla="*/ 3874912 w 3985393"/>
              <a:gd name="connsiteY6" fmla="*/ 509218 h 1080823"/>
              <a:gd name="connsiteX7" fmla="*/ 3693937 w 3985393"/>
              <a:gd name="connsiteY7" fmla="*/ 13918 h 1080823"/>
              <a:gd name="connsiteX8" fmla="*/ 2665237 w 3985393"/>
              <a:gd name="connsiteY8" fmla="*/ 185368 h 1080823"/>
              <a:gd name="connsiteX0" fmla="*/ 493036 w 3981717"/>
              <a:gd name="connsiteY0" fmla="*/ 153618 h 1080823"/>
              <a:gd name="connsiteX1" fmla="*/ 244357 w 3981717"/>
              <a:gd name="connsiteY1" fmla="*/ 112364 h 1080823"/>
              <a:gd name="connsiteX2" fmla="*/ 89811 w 3981717"/>
              <a:gd name="connsiteY2" fmla="*/ 499693 h 1080823"/>
              <a:gd name="connsiteX3" fmla="*/ 1728111 w 3981717"/>
              <a:gd name="connsiteY3" fmla="*/ 709243 h 1080823"/>
              <a:gd name="connsiteX4" fmla="*/ 1385211 w 3981717"/>
              <a:gd name="connsiteY4" fmla="*/ 1080718 h 1080823"/>
              <a:gd name="connsiteX5" fmla="*/ 2175786 w 3981717"/>
              <a:gd name="connsiteY5" fmla="*/ 671143 h 1080823"/>
              <a:gd name="connsiteX6" fmla="*/ 3871236 w 3981717"/>
              <a:gd name="connsiteY6" fmla="*/ 509218 h 1080823"/>
              <a:gd name="connsiteX7" fmla="*/ 3690261 w 3981717"/>
              <a:gd name="connsiteY7" fmla="*/ 13918 h 1080823"/>
              <a:gd name="connsiteX8" fmla="*/ 2661561 w 3981717"/>
              <a:gd name="connsiteY8" fmla="*/ 185368 h 1080823"/>
              <a:gd name="connsiteX0" fmla="*/ 504815 w 3993496"/>
              <a:gd name="connsiteY0" fmla="*/ 153618 h 1080823"/>
              <a:gd name="connsiteX1" fmla="*/ 256136 w 3993496"/>
              <a:gd name="connsiteY1" fmla="*/ 112364 h 1080823"/>
              <a:gd name="connsiteX2" fmla="*/ 101590 w 3993496"/>
              <a:gd name="connsiteY2" fmla="*/ 499693 h 1080823"/>
              <a:gd name="connsiteX3" fmla="*/ 1739890 w 3993496"/>
              <a:gd name="connsiteY3" fmla="*/ 709243 h 1080823"/>
              <a:gd name="connsiteX4" fmla="*/ 1396990 w 3993496"/>
              <a:gd name="connsiteY4" fmla="*/ 1080718 h 1080823"/>
              <a:gd name="connsiteX5" fmla="*/ 2187565 w 3993496"/>
              <a:gd name="connsiteY5" fmla="*/ 671143 h 1080823"/>
              <a:gd name="connsiteX6" fmla="*/ 3883015 w 3993496"/>
              <a:gd name="connsiteY6" fmla="*/ 509218 h 1080823"/>
              <a:gd name="connsiteX7" fmla="*/ 3702040 w 3993496"/>
              <a:gd name="connsiteY7" fmla="*/ 13918 h 1080823"/>
              <a:gd name="connsiteX8" fmla="*/ 2673340 w 3993496"/>
              <a:gd name="connsiteY8" fmla="*/ 185368 h 1080823"/>
              <a:gd name="connsiteX0" fmla="*/ 504815 w 3993496"/>
              <a:gd name="connsiteY0" fmla="*/ 153618 h 1080823"/>
              <a:gd name="connsiteX1" fmla="*/ 256136 w 3993496"/>
              <a:gd name="connsiteY1" fmla="*/ 112364 h 1080823"/>
              <a:gd name="connsiteX2" fmla="*/ 101590 w 3993496"/>
              <a:gd name="connsiteY2" fmla="*/ 499693 h 1080823"/>
              <a:gd name="connsiteX3" fmla="*/ 1739890 w 3993496"/>
              <a:gd name="connsiteY3" fmla="*/ 709243 h 1080823"/>
              <a:gd name="connsiteX4" fmla="*/ 1396990 w 3993496"/>
              <a:gd name="connsiteY4" fmla="*/ 1080718 h 1080823"/>
              <a:gd name="connsiteX5" fmla="*/ 2187565 w 3993496"/>
              <a:gd name="connsiteY5" fmla="*/ 671143 h 1080823"/>
              <a:gd name="connsiteX6" fmla="*/ 3883015 w 3993496"/>
              <a:gd name="connsiteY6" fmla="*/ 509218 h 1080823"/>
              <a:gd name="connsiteX7" fmla="*/ 3702040 w 3993496"/>
              <a:gd name="connsiteY7" fmla="*/ 13918 h 1080823"/>
              <a:gd name="connsiteX8" fmla="*/ 2673340 w 3993496"/>
              <a:gd name="connsiteY8" fmla="*/ 185368 h 1080823"/>
              <a:gd name="connsiteX0" fmla="*/ 504815 w 3993496"/>
              <a:gd name="connsiteY0" fmla="*/ 153618 h 1083585"/>
              <a:gd name="connsiteX1" fmla="*/ 256136 w 3993496"/>
              <a:gd name="connsiteY1" fmla="*/ 112364 h 1083585"/>
              <a:gd name="connsiteX2" fmla="*/ 101590 w 3993496"/>
              <a:gd name="connsiteY2" fmla="*/ 499693 h 1083585"/>
              <a:gd name="connsiteX3" fmla="*/ 1739890 w 3993496"/>
              <a:gd name="connsiteY3" fmla="*/ 709243 h 1083585"/>
              <a:gd name="connsiteX4" fmla="*/ 1396990 w 3993496"/>
              <a:gd name="connsiteY4" fmla="*/ 1080718 h 1083585"/>
              <a:gd name="connsiteX5" fmla="*/ 2187565 w 3993496"/>
              <a:gd name="connsiteY5" fmla="*/ 671143 h 1083585"/>
              <a:gd name="connsiteX6" fmla="*/ 3883015 w 3993496"/>
              <a:gd name="connsiteY6" fmla="*/ 509218 h 1083585"/>
              <a:gd name="connsiteX7" fmla="*/ 3702040 w 3993496"/>
              <a:gd name="connsiteY7" fmla="*/ 13918 h 1083585"/>
              <a:gd name="connsiteX8" fmla="*/ 2673340 w 3993496"/>
              <a:gd name="connsiteY8" fmla="*/ 185368 h 1083585"/>
              <a:gd name="connsiteX0" fmla="*/ 504815 w 3993496"/>
              <a:gd name="connsiteY0" fmla="*/ 153618 h 1096255"/>
              <a:gd name="connsiteX1" fmla="*/ 256136 w 3993496"/>
              <a:gd name="connsiteY1" fmla="*/ 112364 h 1096255"/>
              <a:gd name="connsiteX2" fmla="*/ 101590 w 3993496"/>
              <a:gd name="connsiteY2" fmla="*/ 499693 h 1096255"/>
              <a:gd name="connsiteX3" fmla="*/ 1739890 w 3993496"/>
              <a:gd name="connsiteY3" fmla="*/ 709243 h 1096255"/>
              <a:gd name="connsiteX4" fmla="*/ 1396990 w 3993496"/>
              <a:gd name="connsiteY4" fmla="*/ 1080718 h 1096255"/>
              <a:gd name="connsiteX5" fmla="*/ 2187565 w 3993496"/>
              <a:gd name="connsiteY5" fmla="*/ 671143 h 1096255"/>
              <a:gd name="connsiteX6" fmla="*/ 3883015 w 3993496"/>
              <a:gd name="connsiteY6" fmla="*/ 509218 h 1096255"/>
              <a:gd name="connsiteX7" fmla="*/ 3702040 w 3993496"/>
              <a:gd name="connsiteY7" fmla="*/ 13918 h 1096255"/>
              <a:gd name="connsiteX8" fmla="*/ 2673340 w 3993496"/>
              <a:gd name="connsiteY8" fmla="*/ 185368 h 1096255"/>
              <a:gd name="connsiteX0" fmla="*/ 504815 w 3993496"/>
              <a:gd name="connsiteY0" fmla="*/ 153618 h 1081603"/>
              <a:gd name="connsiteX1" fmla="*/ 256136 w 3993496"/>
              <a:gd name="connsiteY1" fmla="*/ 112364 h 1081603"/>
              <a:gd name="connsiteX2" fmla="*/ 101590 w 3993496"/>
              <a:gd name="connsiteY2" fmla="*/ 499693 h 1081603"/>
              <a:gd name="connsiteX3" fmla="*/ 1739890 w 3993496"/>
              <a:gd name="connsiteY3" fmla="*/ 709243 h 1081603"/>
              <a:gd name="connsiteX4" fmla="*/ 1396990 w 3993496"/>
              <a:gd name="connsiteY4" fmla="*/ 1080718 h 1081603"/>
              <a:gd name="connsiteX5" fmla="*/ 2187565 w 3993496"/>
              <a:gd name="connsiteY5" fmla="*/ 671143 h 1081603"/>
              <a:gd name="connsiteX6" fmla="*/ 3883015 w 3993496"/>
              <a:gd name="connsiteY6" fmla="*/ 509218 h 1081603"/>
              <a:gd name="connsiteX7" fmla="*/ 3702040 w 3993496"/>
              <a:gd name="connsiteY7" fmla="*/ 13918 h 1081603"/>
              <a:gd name="connsiteX8" fmla="*/ 2673340 w 3993496"/>
              <a:gd name="connsiteY8" fmla="*/ 185368 h 1081603"/>
              <a:gd name="connsiteX0" fmla="*/ 504815 w 3993496"/>
              <a:gd name="connsiteY0" fmla="*/ 165721 h 1093706"/>
              <a:gd name="connsiteX1" fmla="*/ 256136 w 3993496"/>
              <a:gd name="connsiteY1" fmla="*/ 124467 h 1093706"/>
              <a:gd name="connsiteX2" fmla="*/ 101590 w 3993496"/>
              <a:gd name="connsiteY2" fmla="*/ 511796 h 1093706"/>
              <a:gd name="connsiteX3" fmla="*/ 1739890 w 3993496"/>
              <a:gd name="connsiteY3" fmla="*/ 721346 h 1093706"/>
              <a:gd name="connsiteX4" fmla="*/ 1396990 w 3993496"/>
              <a:gd name="connsiteY4" fmla="*/ 1092821 h 1093706"/>
              <a:gd name="connsiteX5" fmla="*/ 2187565 w 3993496"/>
              <a:gd name="connsiteY5" fmla="*/ 683246 h 1093706"/>
              <a:gd name="connsiteX6" fmla="*/ 3883015 w 3993496"/>
              <a:gd name="connsiteY6" fmla="*/ 521321 h 1093706"/>
              <a:gd name="connsiteX7" fmla="*/ 3702040 w 3993496"/>
              <a:gd name="connsiteY7" fmla="*/ 26021 h 1093706"/>
              <a:gd name="connsiteX8" fmla="*/ 3111490 w 3993496"/>
              <a:gd name="connsiteY8" fmla="*/ 114921 h 1093706"/>
              <a:gd name="connsiteX0" fmla="*/ 504815 w 3993496"/>
              <a:gd name="connsiteY0" fmla="*/ 180503 h 1108488"/>
              <a:gd name="connsiteX1" fmla="*/ 256136 w 3993496"/>
              <a:gd name="connsiteY1" fmla="*/ 139249 h 1108488"/>
              <a:gd name="connsiteX2" fmla="*/ 101590 w 3993496"/>
              <a:gd name="connsiteY2" fmla="*/ 526578 h 1108488"/>
              <a:gd name="connsiteX3" fmla="*/ 1739890 w 3993496"/>
              <a:gd name="connsiteY3" fmla="*/ 736128 h 1108488"/>
              <a:gd name="connsiteX4" fmla="*/ 1396990 w 3993496"/>
              <a:gd name="connsiteY4" fmla="*/ 1107603 h 1108488"/>
              <a:gd name="connsiteX5" fmla="*/ 2187565 w 3993496"/>
              <a:gd name="connsiteY5" fmla="*/ 698028 h 1108488"/>
              <a:gd name="connsiteX6" fmla="*/ 3883015 w 3993496"/>
              <a:gd name="connsiteY6" fmla="*/ 536103 h 1108488"/>
              <a:gd name="connsiteX7" fmla="*/ 3702040 w 3993496"/>
              <a:gd name="connsiteY7" fmla="*/ 40803 h 1108488"/>
              <a:gd name="connsiteX8" fmla="*/ 3390890 w 3993496"/>
              <a:gd name="connsiteY8" fmla="*/ 85253 h 1108488"/>
              <a:gd name="connsiteX0" fmla="*/ 504815 w 3993496"/>
              <a:gd name="connsiteY0" fmla="*/ 139700 h 1067685"/>
              <a:gd name="connsiteX1" fmla="*/ 256136 w 3993496"/>
              <a:gd name="connsiteY1" fmla="*/ 98446 h 1067685"/>
              <a:gd name="connsiteX2" fmla="*/ 101590 w 3993496"/>
              <a:gd name="connsiteY2" fmla="*/ 485775 h 1067685"/>
              <a:gd name="connsiteX3" fmla="*/ 1739890 w 3993496"/>
              <a:gd name="connsiteY3" fmla="*/ 695325 h 1067685"/>
              <a:gd name="connsiteX4" fmla="*/ 1396990 w 3993496"/>
              <a:gd name="connsiteY4" fmla="*/ 1066800 h 1067685"/>
              <a:gd name="connsiteX5" fmla="*/ 2187565 w 3993496"/>
              <a:gd name="connsiteY5" fmla="*/ 657225 h 1067685"/>
              <a:gd name="connsiteX6" fmla="*/ 3883015 w 3993496"/>
              <a:gd name="connsiteY6" fmla="*/ 495300 h 1067685"/>
              <a:gd name="connsiteX7" fmla="*/ 3702040 w 3993496"/>
              <a:gd name="connsiteY7" fmla="*/ 0 h 1067685"/>
              <a:gd name="connsiteX0" fmla="*/ 504815 w 4010232"/>
              <a:gd name="connsiteY0" fmla="*/ 54443 h 982428"/>
              <a:gd name="connsiteX1" fmla="*/ 256136 w 4010232"/>
              <a:gd name="connsiteY1" fmla="*/ 13189 h 982428"/>
              <a:gd name="connsiteX2" fmla="*/ 101590 w 4010232"/>
              <a:gd name="connsiteY2" fmla="*/ 400518 h 982428"/>
              <a:gd name="connsiteX3" fmla="*/ 1739890 w 4010232"/>
              <a:gd name="connsiteY3" fmla="*/ 610068 h 982428"/>
              <a:gd name="connsiteX4" fmla="*/ 1396990 w 4010232"/>
              <a:gd name="connsiteY4" fmla="*/ 981543 h 982428"/>
              <a:gd name="connsiteX5" fmla="*/ 2187565 w 4010232"/>
              <a:gd name="connsiteY5" fmla="*/ 571968 h 982428"/>
              <a:gd name="connsiteX6" fmla="*/ 3883015 w 4010232"/>
              <a:gd name="connsiteY6" fmla="*/ 410043 h 982428"/>
              <a:gd name="connsiteX7" fmla="*/ 3752840 w 4010232"/>
              <a:gd name="connsiteY7" fmla="*/ 16343 h 982428"/>
              <a:gd name="connsiteX0" fmla="*/ 256136 w 4010232"/>
              <a:gd name="connsiteY0" fmla="*/ 0 h 969239"/>
              <a:gd name="connsiteX1" fmla="*/ 101590 w 4010232"/>
              <a:gd name="connsiteY1" fmla="*/ 387329 h 969239"/>
              <a:gd name="connsiteX2" fmla="*/ 1739890 w 4010232"/>
              <a:gd name="connsiteY2" fmla="*/ 596879 h 969239"/>
              <a:gd name="connsiteX3" fmla="*/ 1396990 w 4010232"/>
              <a:gd name="connsiteY3" fmla="*/ 968354 h 969239"/>
              <a:gd name="connsiteX4" fmla="*/ 2187565 w 4010232"/>
              <a:gd name="connsiteY4" fmla="*/ 558779 h 969239"/>
              <a:gd name="connsiteX5" fmla="*/ 3883015 w 4010232"/>
              <a:gd name="connsiteY5" fmla="*/ 396854 h 969239"/>
              <a:gd name="connsiteX6" fmla="*/ 3752840 w 4010232"/>
              <a:gd name="connsiteY6" fmla="*/ 3154 h 969239"/>
              <a:gd name="connsiteX0" fmla="*/ 186510 w 4045381"/>
              <a:gd name="connsiteY0" fmla="*/ 75427 h 966085"/>
              <a:gd name="connsiteX1" fmla="*/ 136739 w 4045381"/>
              <a:gd name="connsiteY1" fmla="*/ 384175 h 966085"/>
              <a:gd name="connsiteX2" fmla="*/ 1775039 w 4045381"/>
              <a:gd name="connsiteY2" fmla="*/ 593725 h 966085"/>
              <a:gd name="connsiteX3" fmla="*/ 1432139 w 4045381"/>
              <a:gd name="connsiteY3" fmla="*/ 965200 h 966085"/>
              <a:gd name="connsiteX4" fmla="*/ 2222714 w 4045381"/>
              <a:gd name="connsiteY4" fmla="*/ 555625 h 966085"/>
              <a:gd name="connsiteX5" fmla="*/ 3918164 w 4045381"/>
              <a:gd name="connsiteY5" fmla="*/ 393700 h 966085"/>
              <a:gd name="connsiteX6" fmla="*/ 3787989 w 4045381"/>
              <a:gd name="connsiteY6" fmla="*/ 0 h 966085"/>
              <a:gd name="connsiteX0" fmla="*/ 186510 w 4108760"/>
              <a:gd name="connsiteY0" fmla="*/ 18277 h 908935"/>
              <a:gd name="connsiteX1" fmla="*/ 136739 w 4108760"/>
              <a:gd name="connsiteY1" fmla="*/ 327025 h 908935"/>
              <a:gd name="connsiteX2" fmla="*/ 1775039 w 4108760"/>
              <a:gd name="connsiteY2" fmla="*/ 536575 h 908935"/>
              <a:gd name="connsiteX3" fmla="*/ 1432139 w 4108760"/>
              <a:gd name="connsiteY3" fmla="*/ 908050 h 908935"/>
              <a:gd name="connsiteX4" fmla="*/ 2222714 w 4108760"/>
              <a:gd name="connsiteY4" fmla="*/ 498475 h 908935"/>
              <a:gd name="connsiteX5" fmla="*/ 3918164 w 4108760"/>
              <a:gd name="connsiteY5" fmla="*/ 336550 h 908935"/>
              <a:gd name="connsiteX6" fmla="*/ 3933245 w 4108760"/>
              <a:gd name="connsiteY6" fmla="*/ 0 h 908935"/>
              <a:gd name="connsiteX0" fmla="*/ 186510 w 4071091"/>
              <a:gd name="connsiteY0" fmla="*/ 18277 h 908935"/>
              <a:gd name="connsiteX1" fmla="*/ 136739 w 4071091"/>
              <a:gd name="connsiteY1" fmla="*/ 327025 h 908935"/>
              <a:gd name="connsiteX2" fmla="*/ 1775039 w 4071091"/>
              <a:gd name="connsiteY2" fmla="*/ 536575 h 908935"/>
              <a:gd name="connsiteX3" fmla="*/ 1432139 w 4071091"/>
              <a:gd name="connsiteY3" fmla="*/ 908050 h 908935"/>
              <a:gd name="connsiteX4" fmla="*/ 2222714 w 4071091"/>
              <a:gd name="connsiteY4" fmla="*/ 498475 h 908935"/>
              <a:gd name="connsiteX5" fmla="*/ 3918164 w 4071091"/>
              <a:gd name="connsiteY5" fmla="*/ 336550 h 908935"/>
              <a:gd name="connsiteX6" fmla="*/ 3933245 w 4071091"/>
              <a:gd name="connsiteY6" fmla="*/ 0 h 908935"/>
              <a:gd name="connsiteX0" fmla="*/ 176846 w 4061427"/>
              <a:gd name="connsiteY0" fmla="*/ 18277 h 908935"/>
              <a:gd name="connsiteX1" fmla="*/ 127075 w 4061427"/>
              <a:gd name="connsiteY1" fmla="*/ 327025 h 908935"/>
              <a:gd name="connsiteX2" fmla="*/ 1765375 w 4061427"/>
              <a:gd name="connsiteY2" fmla="*/ 536575 h 908935"/>
              <a:gd name="connsiteX3" fmla="*/ 1422475 w 4061427"/>
              <a:gd name="connsiteY3" fmla="*/ 908050 h 908935"/>
              <a:gd name="connsiteX4" fmla="*/ 2213050 w 4061427"/>
              <a:gd name="connsiteY4" fmla="*/ 498475 h 908935"/>
              <a:gd name="connsiteX5" fmla="*/ 3908500 w 4061427"/>
              <a:gd name="connsiteY5" fmla="*/ 336550 h 908935"/>
              <a:gd name="connsiteX6" fmla="*/ 3923581 w 4061427"/>
              <a:gd name="connsiteY6" fmla="*/ 0 h 908935"/>
              <a:gd name="connsiteX0" fmla="*/ 129419 w 4014000"/>
              <a:gd name="connsiteY0" fmla="*/ 18277 h 908935"/>
              <a:gd name="connsiteX1" fmla="*/ 79648 w 4014000"/>
              <a:gd name="connsiteY1" fmla="*/ 327025 h 908935"/>
              <a:gd name="connsiteX2" fmla="*/ 1717948 w 4014000"/>
              <a:gd name="connsiteY2" fmla="*/ 536575 h 908935"/>
              <a:gd name="connsiteX3" fmla="*/ 1375048 w 4014000"/>
              <a:gd name="connsiteY3" fmla="*/ 908050 h 908935"/>
              <a:gd name="connsiteX4" fmla="*/ 2165623 w 4014000"/>
              <a:gd name="connsiteY4" fmla="*/ 498475 h 908935"/>
              <a:gd name="connsiteX5" fmla="*/ 3861073 w 4014000"/>
              <a:gd name="connsiteY5" fmla="*/ 336550 h 908935"/>
              <a:gd name="connsiteX6" fmla="*/ 3876154 w 4014000"/>
              <a:gd name="connsiteY6" fmla="*/ 0 h 908935"/>
              <a:gd name="connsiteX0" fmla="*/ 129419 w 4014000"/>
              <a:gd name="connsiteY0" fmla="*/ 18277 h 845618"/>
              <a:gd name="connsiteX1" fmla="*/ 79648 w 4014000"/>
              <a:gd name="connsiteY1" fmla="*/ 327025 h 845618"/>
              <a:gd name="connsiteX2" fmla="*/ 1717948 w 4014000"/>
              <a:gd name="connsiteY2" fmla="*/ 536575 h 845618"/>
              <a:gd name="connsiteX3" fmla="*/ 1686198 w 4014000"/>
              <a:gd name="connsiteY3" fmla="*/ 844550 h 845618"/>
              <a:gd name="connsiteX4" fmla="*/ 2165623 w 4014000"/>
              <a:gd name="connsiteY4" fmla="*/ 498475 h 845618"/>
              <a:gd name="connsiteX5" fmla="*/ 3861073 w 4014000"/>
              <a:gd name="connsiteY5" fmla="*/ 336550 h 845618"/>
              <a:gd name="connsiteX6" fmla="*/ 3876154 w 4014000"/>
              <a:gd name="connsiteY6" fmla="*/ 0 h 845618"/>
              <a:gd name="connsiteX0" fmla="*/ 129419 w 4014000"/>
              <a:gd name="connsiteY0" fmla="*/ 18277 h 850150"/>
              <a:gd name="connsiteX1" fmla="*/ 79648 w 4014000"/>
              <a:gd name="connsiteY1" fmla="*/ 327025 h 850150"/>
              <a:gd name="connsiteX2" fmla="*/ 1717948 w 4014000"/>
              <a:gd name="connsiteY2" fmla="*/ 536575 h 850150"/>
              <a:gd name="connsiteX3" fmla="*/ 1686198 w 4014000"/>
              <a:gd name="connsiteY3" fmla="*/ 844550 h 850150"/>
              <a:gd name="connsiteX4" fmla="*/ 2165623 w 4014000"/>
              <a:gd name="connsiteY4" fmla="*/ 498475 h 850150"/>
              <a:gd name="connsiteX5" fmla="*/ 3861073 w 4014000"/>
              <a:gd name="connsiteY5" fmla="*/ 336550 h 850150"/>
              <a:gd name="connsiteX6" fmla="*/ 3876154 w 4014000"/>
              <a:gd name="connsiteY6" fmla="*/ 0 h 850150"/>
              <a:gd name="connsiteX0" fmla="*/ 129419 w 3861072"/>
              <a:gd name="connsiteY0" fmla="*/ 1 h 831874"/>
              <a:gd name="connsiteX1" fmla="*/ 79648 w 3861072"/>
              <a:gd name="connsiteY1" fmla="*/ 308749 h 831874"/>
              <a:gd name="connsiteX2" fmla="*/ 1717948 w 3861072"/>
              <a:gd name="connsiteY2" fmla="*/ 518299 h 831874"/>
              <a:gd name="connsiteX3" fmla="*/ 1686198 w 3861072"/>
              <a:gd name="connsiteY3" fmla="*/ 826274 h 831874"/>
              <a:gd name="connsiteX4" fmla="*/ 2165623 w 3861072"/>
              <a:gd name="connsiteY4" fmla="*/ 480199 h 831874"/>
              <a:gd name="connsiteX5" fmla="*/ 3861073 w 3861072"/>
              <a:gd name="connsiteY5" fmla="*/ 318274 h 831874"/>
              <a:gd name="connsiteX0" fmla="*/ 1 w 3781427"/>
              <a:gd name="connsiteY0" fmla="*/ 1 h 523126"/>
              <a:gd name="connsiteX1" fmla="*/ 1638301 w 3781427"/>
              <a:gd name="connsiteY1" fmla="*/ 209551 h 523126"/>
              <a:gd name="connsiteX2" fmla="*/ 1606551 w 3781427"/>
              <a:gd name="connsiteY2" fmla="*/ 517526 h 523126"/>
              <a:gd name="connsiteX3" fmla="*/ 2085976 w 3781427"/>
              <a:gd name="connsiteY3" fmla="*/ 171451 h 523126"/>
              <a:gd name="connsiteX4" fmla="*/ 3781426 w 3781427"/>
              <a:gd name="connsiteY4" fmla="*/ 9526 h 523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1427" h="523126">
                <a:moveTo>
                  <a:pt x="1" y="1"/>
                </a:moveTo>
                <a:cubicBezTo>
                  <a:pt x="157600" y="69715"/>
                  <a:pt x="1370543" y="123297"/>
                  <a:pt x="1638301" y="209551"/>
                </a:cubicBezTo>
                <a:cubicBezTo>
                  <a:pt x="1906059" y="295805"/>
                  <a:pt x="1579564" y="565151"/>
                  <a:pt x="1606551" y="517526"/>
                </a:cubicBezTo>
                <a:cubicBezTo>
                  <a:pt x="1633538" y="469901"/>
                  <a:pt x="1723497" y="256118"/>
                  <a:pt x="2085976" y="171451"/>
                </a:cubicBezTo>
                <a:cubicBezTo>
                  <a:pt x="2448455" y="86784"/>
                  <a:pt x="3496338" y="92605"/>
                  <a:pt x="3781426" y="9526"/>
                </a:cubicBezTo>
              </a:path>
            </a:pathLst>
          </a:custGeom>
          <a:noFill/>
          <a:ln w="19050" cap="rnd">
            <a:solidFill>
              <a:srgbClr val="D22C2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E446A4D6-0DA1-A0B3-79F7-D8E2908933AC}"/>
              </a:ext>
            </a:extLst>
          </p:cNvPr>
          <p:cNvSpPr txBox="1"/>
          <p:nvPr/>
        </p:nvSpPr>
        <p:spPr>
          <a:xfrm>
            <a:off x="1587638" y="1341992"/>
            <a:ext cx="2632750" cy="3895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kern="0"/>
            </a:defPPr>
            <a:lvl1pPr>
              <a:lnSpc>
                <a:spcPct val="130000"/>
              </a:lnSpc>
              <a:defRPr sz="1200" b="1">
                <a:latin typeface="+mn-ea"/>
                <a:ea typeface="+mn-ea"/>
              </a:defRPr>
            </a:lvl1pPr>
          </a:lstStyle>
          <a:p>
            <a:pPr algn="ctr"/>
            <a:r>
              <a:rPr lang="ja-JP" altLang="en-US" sz="1600" dirty="0" smtClean="0">
                <a:solidFill>
                  <a:schemeClr val="accent1"/>
                </a:solidFill>
              </a:rPr>
              <a:t>案内ポスター</a:t>
            </a:r>
            <a:endParaRPr lang="en-US" altLang="ja-JP" sz="1600" dirty="0">
              <a:solidFill>
                <a:schemeClr val="accent1"/>
              </a:solidFill>
            </a:endParaRPr>
          </a:p>
        </p:txBody>
      </p:sp>
      <p:pic>
        <p:nvPicPr>
          <p:cNvPr id="14" name="図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3474" y="2285999"/>
            <a:ext cx="2706914" cy="38386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図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5000" y="2285999"/>
            <a:ext cx="2743200" cy="389478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</p:pic>
      <p:sp>
        <p:nvSpPr>
          <p:cNvPr id="16" name="フリーフォーム: 図形 25">
            <a:extLst>
              <a:ext uri="{FF2B5EF4-FFF2-40B4-BE49-F238E27FC236}">
                <a16:creationId xmlns:a16="http://schemas.microsoft.com/office/drawing/2014/main" id="{01445575-139A-4150-A233-972F91649E69}"/>
              </a:ext>
            </a:extLst>
          </p:cNvPr>
          <p:cNvSpPr/>
          <p:nvPr/>
        </p:nvSpPr>
        <p:spPr>
          <a:xfrm>
            <a:off x="6148084" y="1897864"/>
            <a:ext cx="1970783" cy="272638"/>
          </a:xfrm>
          <a:custGeom>
            <a:avLst/>
            <a:gdLst>
              <a:gd name="connsiteX0" fmla="*/ 372615 w 3978771"/>
              <a:gd name="connsiteY0" fmla="*/ 71068 h 1080823"/>
              <a:gd name="connsiteX1" fmla="*/ 86865 w 3978771"/>
              <a:gd name="connsiteY1" fmla="*/ 499693 h 1080823"/>
              <a:gd name="connsiteX2" fmla="*/ 1725165 w 3978771"/>
              <a:gd name="connsiteY2" fmla="*/ 709243 h 1080823"/>
              <a:gd name="connsiteX3" fmla="*/ 1382265 w 3978771"/>
              <a:gd name="connsiteY3" fmla="*/ 1080718 h 1080823"/>
              <a:gd name="connsiteX4" fmla="*/ 2172840 w 3978771"/>
              <a:gd name="connsiteY4" fmla="*/ 671143 h 1080823"/>
              <a:gd name="connsiteX5" fmla="*/ 3868290 w 3978771"/>
              <a:gd name="connsiteY5" fmla="*/ 509218 h 1080823"/>
              <a:gd name="connsiteX6" fmla="*/ 3687315 w 3978771"/>
              <a:gd name="connsiteY6" fmla="*/ 13918 h 1080823"/>
              <a:gd name="connsiteX7" fmla="*/ 2658615 w 3978771"/>
              <a:gd name="connsiteY7" fmla="*/ 185368 h 1080823"/>
              <a:gd name="connsiteX0" fmla="*/ 379769 w 3976400"/>
              <a:gd name="connsiteY0" fmla="*/ 55193 h 1080823"/>
              <a:gd name="connsiteX1" fmla="*/ 84494 w 3976400"/>
              <a:gd name="connsiteY1" fmla="*/ 499693 h 1080823"/>
              <a:gd name="connsiteX2" fmla="*/ 1722794 w 3976400"/>
              <a:gd name="connsiteY2" fmla="*/ 709243 h 1080823"/>
              <a:gd name="connsiteX3" fmla="*/ 1379894 w 3976400"/>
              <a:gd name="connsiteY3" fmla="*/ 1080718 h 1080823"/>
              <a:gd name="connsiteX4" fmla="*/ 2170469 w 3976400"/>
              <a:gd name="connsiteY4" fmla="*/ 671143 h 1080823"/>
              <a:gd name="connsiteX5" fmla="*/ 3865919 w 3976400"/>
              <a:gd name="connsiteY5" fmla="*/ 509218 h 1080823"/>
              <a:gd name="connsiteX6" fmla="*/ 3684944 w 3976400"/>
              <a:gd name="connsiteY6" fmla="*/ 13918 h 1080823"/>
              <a:gd name="connsiteX7" fmla="*/ 2656244 w 3976400"/>
              <a:gd name="connsiteY7" fmla="*/ 185368 h 1080823"/>
              <a:gd name="connsiteX0" fmla="*/ 382402 w 3979033"/>
              <a:gd name="connsiteY0" fmla="*/ 55193 h 1080823"/>
              <a:gd name="connsiteX1" fmla="*/ 241673 w 3979033"/>
              <a:gd name="connsiteY1" fmla="*/ 112364 h 1080823"/>
              <a:gd name="connsiteX2" fmla="*/ 87127 w 3979033"/>
              <a:gd name="connsiteY2" fmla="*/ 499693 h 1080823"/>
              <a:gd name="connsiteX3" fmla="*/ 1725427 w 3979033"/>
              <a:gd name="connsiteY3" fmla="*/ 709243 h 1080823"/>
              <a:gd name="connsiteX4" fmla="*/ 1382527 w 3979033"/>
              <a:gd name="connsiteY4" fmla="*/ 1080718 h 1080823"/>
              <a:gd name="connsiteX5" fmla="*/ 2173102 w 3979033"/>
              <a:gd name="connsiteY5" fmla="*/ 671143 h 1080823"/>
              <a:gd name="connsiteX6" fmla="*/ 3868552 w 3979033"/>
              <a:gd name="connsiteY6" fmla="*/ 509218 h 1080823"/>
              <a:gd name="connsiteX7" fmla="*/ 3687577 w 3979033"/>
              <a:gd name="connsiteY7" fmla="*/ 13918 h 1080823"/>
              <a:gd name="connsiteX8" fmla="*/ 2658877 w 3979033"/>
              <a:gd name="connsiteY8" fmla="*/ 185368 h 1080823"/>
              <a:gd name="connsiteX0" fmla="*/ 480827 w 3979033"/>
              <a:gd name="connsiteY0" fmla="*/ 137743 h 1080823"/>
              <a:gd name="connsiteX1" fmla="*/ 241673 w 3979033"/>
              <a:gd name="connsiteY1" fmla="*/ 112364 h 1080823"/>
              <a:gd name="connsiteX2" fmla="*/ 87127 w 3979033"/>
              <a:gd name="connsiteY2" fmla="*/ 499693 h 1080823"/>
              <a:gd name="connsiteX3" fmla="*/ 1725427 w 3979033"/>
              <a:gd name="connsiteY3" fmla="*/ 709243 h 1080823"/>
              <a:gd name="connsiteX4" fmla="*/ 1382527 w 3979033"/>
              <a:gd name="connsiteY4" fmla="*/ 1080718 h 1080823"/>
              <a:gd name="connsiteX5" fmla="*/ 2173102 w 3979033"/>
              <a:gd name="connsiteY5" fmla="*/ 671143 h 1080823"/>
              <a:gd name="connsiteX6" fmla="*/ 3868552 w 3979033"/>
              <a:gd name="connsiteY6" fmla="*/ 509218 h 1080823"/>
              <a:gd name="connsiteX7" fmla="*/ 3687577 w 3979033"/>
              <a:gd name="connsiteY7" fmla="*/ 13918 h 1080823"/>
              <a:gd name="connsiteX8" fmla="*/ 2658877 w 3979033"/>
              <a:gd name="connsiteY8" fmla="*/ 185368 h 1080823"/>
              <a:gd name="connsiteX0" fmla="*/ 487187 w 3985393"/>
              <a:gd name="connsiteY0" fmla="*/ 137743 h 1080823"/>
              <a:gd name="connsiteX1" fmla="*/ 248033 w 3985393"/>
              <a:gd name="connsiteY1" fmla="*/ 112364 h 1080823"/>
              <a:gd name="connsiteX2" fmla="*/ 93487 w 3985393"/>
              <a:gd name="connsiteY2" fmla="*/ 499693 h 1080823"/>
              <a:gd name="connsiteX3" fmla="*/ 1731787 w 3985393"/>
              <a:gd name="connsiteY3" fmla="*/ 709243 h 1080823"/>
              <a:gd name="connsiteX4" fmla="*/ 1388887 w 3985393"/>
              <a:gd name="connsiteY4" fmla="*/ 1080718 h 1080823"/>
              <a:gd name="connsiteX5" fmla="*/ 2179462 w 3985393"/>
              <a:gd name="connsiteY5" fmla="*/ 671143 h 1080823"/>
              <a:gd name="connsiteX6" fmla="*/ 3874912 w 3985393"/>
              <a:gd name="connsiteY6" fmla="*/ 509218 h 1080823"/>
              <a:gd name="connsiteX7" fmla="*/ 3693937 w 3985393"/>
              <a:gd name="connsiteY7" fmla="*/ 13918 h 1080823"/>
              <a:gd name="connsiteX8" fmla="*/ 2665237 w 3985393"/>
              <a:gd name="connsiteY8" fmla="*/ 185368 h 1080823"/>
              <a:gd name="connsiteX0" fmla="*/ 493036 w 3981717"/>
              <a:gd name="connsiteY0" fmla="*/ 153618 h 1080823"/>
              <a:gd name="connsiteX1" fmla="*/ 244357 w 3981717"/>
              <a:gd name="connsiteY1" fmla="*/ 112364 h 1080823"/>
              <a:gd name="connsiteX2" fmla="*/ 89811 w 3981717"/>
              <a:gd name="connsiteY2" fmla="*/ 499693 h 1080823"/>
              <a:gd name="connsiteX3" fmla="*/ 1728111 w 3981717"/>
              <a:gd name="connsiteY3" fmla="*/ 709243 h 1080823"/>
              <a:gd name="connsiteX4" fmla="*/ 1385211 w 3981717"/>
              <a:gd name="connsiteY4" fmla="*/ 1080718 h 1080823"/>
              <a:gd name="connsiteX5" fmla="*/ 2175786 w 3981717"/>
              <a:gd name="connsiteY5" fmla="*/ 671143 h 1080823"/>
              <a:gd name="connsiteX6" fmla="*/ 3871236 w 3981717"/>
              <a:gd name="connsiteY6" fmla="*/ 509218 h 1080823"/>
              <a:gd name="connsiteX7" fmla="*/ 3690261 w 3981717"/>
              <a:gd name="connsiteY7" fmla="*/ 13918 h 1080823"/>
              <a:gd name="connsiteX8" fmla="*/ 2661561 w 3981717"/>
              <a:gd name="connsiteY8" fmla="*/ 185368 h 1080823"/>
              <a:gd name="connsiteX0" fmla="*/ 504815 w 3993496"/>
              <a:gd name="connsiteY0" fmla="*/ 153618 h 1080823"/>
              <a:gd name="connsiteX1" fmla="*/ 256136 w 3993496"/>
              <a:gd name="connsiteY1" fmla="*/ 112364 h 1080823"/>
              <a:gd name="connsiteX2" fmla="*/ 101590 w 3993496"/>
              <a:gd name="connsiteY2" fmla="*/ 499693 h 1080823"/>
              <a:gd name="connsiteX3" fmla="*/ 1739890 w 3993496"/>
              <a:gd name="connsiteY3" fmla="*/ 709243 h 1080823"/>
              <a:gd name="connsiteX4" fmla="*/ 1396990 w 3993496"/>
              <a:gd name="connsiteY4" fmla="*/ 1080718 h 1080823"/>
              <a:gd name="connsiteX5" fmla="*/ 2187565 w 3993496"/>
              <a:gd name="connsiteY5" fmla="*/ 671143 h 1080823"/>
              <a:gd name="connsiteX6" fmla="*/ 3883015 w 3993496"/>
              <a:gd name="connsiteY6" fmla="*/ 509218 h 1080823"/>
              <a:gd name="connsiteX7" fmla="*/ 3702040 w 3993496"/>
              <a:gd name="connsiteY7" fmla="*/ 13918 h 1080823"/>
              <a:gd name="connsiteX8" fmla="*/ 2673340 w 3993496"/>
              <a:gd name="connsiteY8" fmla="*/ 185368 h 1080823"/>
              <a:gd name="connsiteX0" fmla="*/ 504815 w 3993496"/>
              <a:gd name="connsiteY0" fmla="*/ 153618 h 1080823"/>
              <a:gd name="connsiteX1" fmla="*/ 256136 w 3993496"/>
              <a:gd name="connsiteY1" fmla="*/ 112364 h 1080823"/>
              <a:gd name="connsiteX2" fmla="*/ 101590 w 3993496"/>
              <a:gd name="connsiteY2" fmla="*/ 499693 h 1080823"/>
              <a:gd name="connsiteX3" fmla="*/ 1739890 w 3993496"/>
              <a:gd name="connsiteY3" fmla="*/ 709243 h 1080823"/>
              <a:gd name="connsiteX4" fmla="*/ 1396990 w 3993496"/>
              <a:gd name="connsiteY4" fmla="*/ 1080718 h 1080823"/>
              <a:gd name="connsiteX5" fmla="*/ 2187565 w 3993496"/>
              <a:gd name="connsiteY5" fmla="*/ 671143 h 1080823"/>
              <a:gd name="connsiteX6" fmla="*/ 3883015 w 3993496"/>
              <a:gd name="connsiteY6" fmla="*/ 509218 h 1080823"/>
              <a:gd name="connsiteX7" fmla="*/ 3702040 w 3993496"/>
              <a:gd name="connsiteY7" fmla="*/ 13918 h 1080823"/>
              <a:gd name="connsiteX8" fmla="*/ 2673340 w 3993496"/>
              <a:gd name="connsiteY8" fmla="*/ 185368 h 1080823"/>
              <a:gd name="connsiteX0" fmla="*/ 504815 w 3993496"/>
              <a:gd name="connsiteY0" fmla="*/ 153618 h 1083585"/>
              <a:gd name="connsiteX1" fmla="*/ 256136 w 3993496"/>
              <a:gd name="connsiteY1" fmla="*/ 112364 h 1083585"/>
              <a:gd name="connsiteX2" fmla="*/ 101590 w 3993496"/>
              <a:gd name="connsiteY2" fmla="*/ 499693 h 1083585"/>
              <a:gd name="connsiteX3" fmla="*/ 1739890 w 3993496"/>
              <a:gd name="connsiteY3" fmla="*/ 709243 h 1083585"/>
              <a:gd name="connsiteX4" fmla="*/ 1396990 w 3993496"/>
              <a:gd name="connsiteY4" fmla="*/ 1080718 h 1083585"/>
              <a:gd name="connsiteX5" fmla="*/ 2187565 w 3993496"/>
              <a:gd name="connsiteY5" fmla="*/ 671143 h 1083585"/>
              <a:gd name="connsiteX6" fmla="*/ 3883015 w 3993496"/>
              <a:gd name="connsiteY6" fmla="*/ 509218 h 1083585"/>
              <a:gd name="connsiteX7" fmla="*/ 3702040 w 3993496"/>
              <a:gd name="connsiteY7" fmla="*/ 13918 h 1083585"/>
              <a:gd name="connsiteX8" fmla="*/ 2673340 w 3993496"/>
              <a:gd name="connsiteY8" fmla="*/ 185368 h 1083585"/>
              <a:gd name="connsiteX0" fmla="*/ 504815 w 3993496"/>
              <a:gd name="connsiteY0" fmla="*/ 153618 h 1096255"/>
              <a:gd name="connsiteX1" fmla="*/ 256136 w 3993496"/>
              <a:gd name="connsiteY1" fmla="*/ 112364 h 1096255"/>
              <a:gd name="connsiteX2" fmla="*/ 101590 w 3993496"/>
              <a:gd name="connsiteY2" fmla="*/ 499693 h 1096255"/>
              <a:gd name="connsiteX3" fmla="*/ 1739890 w 3993496"/>
              <a:gd name="connsiteY3" fmla="*/ 709243 h 1096255"/>
              <a:gd name="connsiteX4" fmla="*/ 1396990 w 3993496"/>
              <a:gd name="connsiteY4" fmla="*/ 1080718 h 1096255"/>
              <a:gd name="connsiteX5" fmla="*/ 2187565 w 3993496"/>
              <a:gd name="connsiteY5" fmla="*/ 671143 h 1096255"/>
              <a:gd name="connsiteX6" fmla="*/ 3883015 w 3993496"/>
              <a:gd name="connsiteY6" fmla="*/ 509218 h 1096255"/>
              <a:gd name="connsiteX7" fmla="*/ 3702040 w 3993496"/>
              <a:gd name="connsiteY7" fmla="*/ 13918 h 1096255"/>
              <a:gd name="connsiteX8" fmla="*/ 2673340 w 3993496"/>
              <a:gd name="connsiteY8" fmla="*/ 185368 h 1096255"/>
              <a:gd name="connsiteX0" fmla="*/ 504815 w 3993496"/>
              <a:gd name="connsiteY0" fmla="*/ 153618 h 1081603"/>
              <a:gd name="connsiteX1" fmla="*/ 256136 w 3993496"/>
              <a:gd name="connsiteY1" fmla="*/ 112364 h 1081603"/>
              <a:gd name="connsiteX2" fmla="*/ 101590 w 3993496"/>
              <a:gd name="connsiteY2" fmla="*/ 499693 h 1081603"/>
              <a:gd name="connsiteX3" fmla="*/ 1739890 w 3993496"/>
              <a:gd name="connsiteY3" fmla="*/ 709243 h 1081603"/>
              <a:gd name="connsiteX4" fmla="*/ 1396990 w 3993496"/>
              <a:gd name="connsiteY4" fmla="*/ 1080718 h 1081603"/>
              <a:gd name="connsiteX5" fmla="*/ 2187565 w 3993496"/>
              <a:gd name="connsiteY5" fmla="*/ 671143 h 1081603"/>
              <a:gd name="connsiteX6" fmla="*/ 3883015 w 3993496"/>
              <a:gd name="connsiteY6" fmla="*/ 509218 h 1081603"/>
              <a:gd name="connsiteX7" fmla="*/ 3702040 w 3993496"/>
              <a:gd name="connsiteY7" fmla="*/ 13918 h 1081603"/>
              <a:gd name="connsiteX8" fmla="*/ 2673340 w 3993496"/>
              <a:gd name="connsiteY8" fmla="*/ 185368 h 1081603"/>
              <a:gd name="connsiteX0" fmla="*/ 504815 w 3993496"/>
              <a:gd name="connsiteY0" fmla="*/ 165721 h 1093706"/>
              <a:gd name="connsiteX1" fmla="*/ 256136 w 3993496"/>
              <a:gd name="connsiteY1" fmla="*/ 124467 h 1093706"/>
              <a:gd name="connsiteX2" fmla="*/ 101590 w 3993496"/>
              <a:gd name="connsiteY2" fmla="*/ 511796 h 1093706"/>
              <a:gd name="connsiteX3" fmla="*/ 1739890 w 3993496"/>
              <a:gd name="connsiteY3" fmla="*/ 721346 h 1093706"/>
              <a:gd name="connsiteX4" fmla="*/ 1396990 w 3993496"/>
              <a:gd name="connsiteY4" fmla="*/ 1092821 h 1093706"/>
              <a:gd name="connsiteX5" fmla="*/ 2187565 w 3993496"/>
              <a:gd name="connsiteY5" fmla="*/ 683246 h 1093706"/>
              <a:gd name="connsiteX6" fmla="*/ 3883015 w 3993496"/>
              <a:gd name="connsiteY6" fmla="*/ 521321 h 1093706"/>
              <a:gd name="connsiteX7" fmla="*/ 3702040 w 3993496"/>
              <a:gd name="connsiteY7" fmla="*/ 26021 h 1093706"/>
              <a:gd name="connsiteX8" fmla="*/ 3111490 w 3993496"/>
              <a:gd name="connsiteY8" fmla="*/ 114921 h 1093706"/>
              <a:gd name="connsiteX0" fmla="*/ 504815 w 3993496"/>
              <a:gd name="connsiteY0" fmla="*/ 180503 h 1108488"/>
              <a:gd name="connsiteX1" fmla="*/ 256136 w 3993496"/>
              <a:gd name="connsiteY1" fmla="*/ 139249 h 1108488"/>
              <a:gd name="connsiteX2" fmla="*/ 101590 w 3993496"/>
              <a:gd name="connsiteY2" fmla="*/ 526578 h 1108488"/>
              <a:gd name="connsiteX3" fmla="*/ 1739890 w 3993496"/>
              <a:gd name="connsiteY3" fmla="*/ 736128 h 1108488"/>
              <a:gd name="connsiteX4" fmla="*/ 1396990 w 3993496"/>
              <a:gd name="connsiteY4" fmla="*/ 1107603 h 1108488"/>
              <a:gd name="connsiteX5" fmla="*/ 2187565 w 3993496"/>
              <a:gd name="connsiteY5" fmla="*/ 698028 h 1108488"/>
              <a:gd name="connsiteX6" fmla="*/ 3883015 w 3993496"/>
              <a:gd name="connsiteY6" fmla="*/ 536103 h 1108488"/>
              <a:gd name="connsiteX7" fmla="*/ 3702040 w 3993496"/>
              <a:gd name="connsiteY7" fmla="*/ 40803 h 1108488"/>
              <a:gd name="connsiteX8" fmla="*/ 3390890 w 3993496"/>
              <a:gd name="connsiteY8" fmla="*/ 85253 h 1108488"/>
              <a:gd name="connsiteX0" fmla="*/ 504815 w 3993496"/>
              <a:gd name="connsiteY0" fmla="*/ 139700 h 1067685"/>
              <a:gd name="connsiteX1" fmla="*/ 256136 w 3993496"/>
              <a:gd name="connsiteY1" fmla="*/ 98446 h 1067685"/>
              <a:gd name="connsiteX2" fmla="*/ 101590 w 3993496"/>
              <a:gd name="connsiteY2" fmla="*/ 485775 h 1067685"/>
              <a:gd name="connsiteX3" fmla="*/ 1739890 w 3993496"/>
              <a:gd name="connsiteY3" fmla="*/ 695325 h 1067685"/>
              <a:gd name="connsiteX4" fmla="*/ 1396990 w 3993496"/>
              <a:gd name="connsiteY4" fmla="*/ 1066800 h 1067685"/>
              <a:gd name="connsiteX5" fmla="*/ 2187565 w 3993496"/>
              <a:gd name="connsiteY5" fmla="*/ 657225 h 1067685"/>
              <a:gd name="connsiteX6" fmla="*/ 3883015 w 3993496"/>
              <a:gd name="connsiteY6" fmla="*/ 495300 h 1067685"/>
              <a:gd name="connsiteX7" fmla="*/ 3702040 w 3993496"/>
              <a:gd name="connsiteY7" fmla="*/ 0 h 1067685"/>
              <a:gd name="connsiteX0" fmla="*/ 504815 w 4010232"/>
              <a:gd name="connsiteY0" fmla="*/ 54443 h 982428"/>
              <a:gd name="connsiteX1" fmla="*/ 256136 w 4010232"/>
              <a:gd name="connsiteY1" fmla="*/ 13189 h 982428"/>
              <a:gd name="connsiteX2" fmla="*/ 101590 w 4010232"/>
              <a:gd name="connsiteY2" fmla="*/ 400518 h 982428"/>
              <a:gd name="connsiteX3" fmla="*/ 1739890 w 4010232"/>
              <a:gd name="connsiteY3" fmla="*/ 610068 h 982428"/>
              <a:gd name="connsiteX4" fmla="*/ 1396990 w 4010232"/>
              <a:gd name="connsiteY4" fmla="*/ 981543 h 982428"/>
              <a:gd name="connsiteX5" fmla="*/ 2187565 w 4010232"/>
              <a:gd name="connsiteY5" fmla="*/ 571968 h 982428"/>
              <a:gd name="connsiteX6" fmla="*/ 3883015 w 4010232"/>
              <a:gd name="connsiteY6" fmla="*/ 410043 h 982428"/>
              <a:gd name="connsiteX7" fmla="*/ 3752840 w 4010232"/>
              <a:gd name="connsiteY7" fmla="*/ 16343 h 982428"/>
              <a:gd name="connsiteX0" fmla="*/ 256136 w 4010232"/>
              <a:gd name="connsiteY0" fmla="*/ 0 h 969239"/>
              <a:gd name="connsiteX1" fmla="*/ 101590 w 4010232"/>
              <a:gd name="connsiteY1" fmla="*/ 387329 h 969239"/>
              <a:gd name="connsiteX2" fmla="*/ 1739890 w 4010232"/>
              <a:gd name="connsiteY2" fmla="*/ 596879 h 969239"/>
              <a:gd name="connsiteX3" fmla="*/ 1396990 w 4010232"/>
              <a:gd name="connsiteY3" fmla="*/ 968354 h 969239"/>
              <a:gd name="connsiteX4" fmla="*/ 2187565 w 4010232"/>
              <a:gd name="connsiteY4" fmla="*/ 558779 h 969239"/>
              <a:gd name="connsiteX5" fmla="*/ 3883015 w 4010232"/>
              <a:gd name="connsiteY5" fmla="*/ 396854 h 969239"/>
              <a:gd name="connsiteX6" fmla="*/ 3752840 w 4010232"/>
              <a:gd name="connsiteY6" fmla="*/ 3154 h 969239"/>
              <a:gd name="connsiteX0" fmla="*/ 186510 w 4045381"/>
              <a:gd name="connsiteY0" fmla="*/ 75427 h 966085"/>
              <a:gd name="connsiteX1" fmla="*/ 136739 w 4045381"/>
              <a:gd name="connsiteY1" fmla="*/ 384175 h 966085"/>
              <a:gd name="connsiteX2" fmla="*/ 1775039 w 4045381"/>
              <a:gd name="connsiteY2" fmla="*/ 593725 h 966085"/>
              <a:gd name="connsiteX3" fmla="*/ 1432139 w 4045381"/>
              <a:gd name="connsiteY3" fmla="*/ 965200 h 966085"/>
              <a:gd name="connsiteX4" fmla="*/ 2222714 w 4045381"/>
              <a:gd name="connsiteY4" fmla="*/ 555625 h 966085"/>
              <a:gd name="connsiteX5" fmla="*/ 3918164 w 4045381"/>
              <a:gd name="connsiteY5" fmla="*/ 393700 h 966085"/>
              <a:gd name="connsiteX6" fmla="*/ 3787989 w 4045381"/>
              <a:gd name="connsiteY6" fmla="*/ 0 h 966085"/>
              <a:gd name="connsiteX0" fmla="*/ 186510 w 4108760"/>
              <a:gd name="connsiteY0" fmla="*/ 18277 h 908935"/>
              <a:gd name="connsiteX1" fmla="*/ 136739 w 4108760"/>
              <a:gd name="connsiteY1" fmla="*/ 327025 h 908935"/>
              <a:gd name="connsiteX2" fmla="*/ 1775039 w 4108760"/>
              <a:gd name="connsiteY2" fmla="*/ 536575 h 908935"/>
              <a:gd name="connsiteX3" fmla="*/ 1432139 w 4108760"/>
              <a:gd name="connsiteY3" fmla="*/ 908050 h 908935"/>
              <a:gd name="connsiteX4" fmla="*/ 2222714 w 4108760"/>
              <a:gd name="connsiteY4" fmla="*/ 498475 h 908935"/>
              <a:gd name="connsiteX5" fmla="*/ 3918164 w 4108760"/>
              <a:gd name="connsiteY5" fmla="*/ 336550 h 908935"/>
              <a:gd name="connsiteX6" fmla="*/ 3933245 w 4108760"/>
              <a:gd name="connsiteY6" fmla="*/ 0 h 908935"/>
              <a:gd name="connsiteX0" fmla="*/ 186510 w 4071091"/>
              <a:gd name="connsiteY0" fmla="*/ 18277 h 908935"/>
              <a:gd name="connsiteX1" fmla="*/ 136739 w 4071091"/>
              <a:gd name="connsiteY1" fmla="*/ 327025 h 908935"/>
              <a:gd name="connsiteX2" fmla="*/ 1775039 w 4071091"/>
              <a:gd name="connsiteY2" fmla="*/ 536575 h 908935"/>
              <a:gd name="connsiteX3" fmla="*/ 1432139 w 4071091"/>
              <a:gd name="connsiteY3" fmla="*/ 908050 h 908935"/>
              <a:gd name="connsiteX4" fmla="*/ 2222714 w 4071091"/>
              <a:gd name="connsiteY4" fmla="*/ 498475 h 908935"/>
              <a:gd name="connsiteX5" fmla="*/ 3918164 w 4071091"/>
              <a:gd name="connsiteY5" fmla="*/ 336550 h 908935"/>
              <a:gd name="connsiteX6" fmla="*/ 3933245 w 4071091"/>
              <a:gd name="connsiteY6" fmla="*/ 0 h 908935"/>
              <a:gd name="connsiteX0" fmla="*/ 176846 w 4061427"/>
              <a:gd name="connsiteY0" fmla="*/ 18277 h 908935"/>
              <a:gd name="connsiteX1" fmla="*/ 127075 w 4061427"/>
              <a:gd name="connsiteY1" fmla="*/ 327025 h 908935"/>
              <a:gd name="connsiteX2" fmla="*/ 1765375 w 4061427"/>
              <a:gd name="connsiteY2" fmla="*/ 536575 h 908935"/>
              <a:gd name="connsiteX3" fmla="*/ 1422475 w 4061427"/>
              <a:gd name="connsiteY3" fmla="*/ 908050 h 908935"/>
              <a:gd name="connsiteX4" fmla="*/ 2213050 w 4061427"/>
              <a:gd name="connsiteY4" fmla="*/ 498475 h 908935"/>
              <a:gd name="connsiteX5" fmla="*/ 3908500 w 4061427"/>
              <a:gd name="connsiteY5" fmla="*/ 336550 h 908935"/>
              <a:gd name="connsiteX6" fmla="*/ 3923581 w 4061427"/>
              <a:gd name="connsiteY6" fmla="*/ 0 h 908935"/>
              <a:gd name="connsiteX0" fmla="*/ 129419 w 4014000"/>
              <a:gd name="connsiteY0" fmla="*/ 18277 h 908935"/>
              <a:gd name="connsiteX1" fmla="*/ 79648 w 4014000"/>
              <a:gd name="connsiteY1" fmla="*/ 327025 h 908935"/>
              <a:gd name="connsiteX2" fmla="*/ 1717948 w 4014000"/>
              <a:gd name="connsiteY2" fmla="*/ 536575 h 908935"/>
              <a:gd name="connsiteX3" fmla="*/ 1375048 w 4014000"/>
              <a:gd name="connsiteY3" fmla="*/ 908050 h 908935"/>
              <a:gd name="connsiteX4" fmla="*/ 2165623 w 4014000"/>
              <a:gd name="connsiteY4" fmla="*/ 498475 h 908935"/>
              <a:gd name="connsiteX5" fmla="*/ 3861073 w 4014000"/>
              <a:gd name="connsiteY5" fmla="*/ 336550 h 908935"/>
              <a:gd name="connsiteX6" fmla="*/ 3876154 w 4014000"/>
              <a:gd name="connsiteY6" fmla="*/ 0 h 908935"/>
              <a:gd name="connsiteX0" fmla="*/ 129419 w 4014000"/>
              <a:gd name="connsiteY0" fmla="*/ 18277 h 845618"/>
              <a:gd name="connsiteX1" fmla="*/ 79648 w 4014000"/>
              <a:gd name="connsiteY1" fmla="*/ 327025 h 845618"/>
              <a:gd name="connsiteX2" fmla="*/ 1717948 w 4014000"/>
              <a:gd name="connsiteY2" fmla="*/ 536575 h 845618"/>
              <a:gd name="connsiteX3" fmla="*/ 1686198 w 4014000"/>
              <a:gd name="connsiteY3" fmla="*/ 844550 h 845618"/>
              <a:gd name="connsiteX4" fmla="*/ 2165623 w 4014000"/>
              <a:gd name="connsiteY4" fmla="*/ 498475 h 845618"/>
              <a:gd name="connsiteX5" fmla="*/ 3861073 w 4014000"/>
              <a:gd name="connsiteY5" fmla="*/ 336550 h 845618"/>
              <a:gd name="connsiteX6" fmla="*/ 3876154 w 4014000"/>
              <a:gd name="connsiteY6" fmla="*/ 0 h 845618"/>
              <a:gd name="connsiteX0" fmla="*/ 129419 w 4014000"/>
              <a:gd name="connsiteY0" fmla="*/ 18277 h 850150"/>
              <a:gd name="connsiteX1" fmla="*/ 79648 w 4014000"/>
              <a:gd name="connsiteY1" fmla="*/ 327025 h 850150"/>
              <a:gd name="connsiteX2" fmla="*/ 1717948 w 4014000"/>
              <a:gd name="connsiteY2" fmla="*/ 536575 h 850150"/>
              <a:gd name="connsiteX3" fmla="*/ 1686198 w 4014000"/>
              <a:gd name="connsiteY3" fmla="*/ 844550 h 850150"/>
              <a:gd name="connsiteX4" fmla="*/ 2165623 w 4014000"/>
              <a:gd name="connsiteY4" fmla="*/ 498475 h 850150"/>
              <a:gd name="connsiteX5" fmla="*/ 3861073 w 4014000"/>
              <a:gd name="connsiteY5" fmla="*/ 336550 h 850150"/>
              <a:gd name="connsiteX6" fmla="*/ 3876154 w 4014000"/>
              <a:gd name="connsiteY6" fmla="*/ 0 h 850150"/>
              <a:gd name="connsiteX0" fmla="*/ 129419 w 3861072"/>
              <a:gd name="connsiteY0" fmla="*/ 1 h 831874"/>
              <a:gd name="connsiteX1" fmla="*/ 79648 w 3861072"/>
              <a:gd name="connsiteY1" fmla="*/ 308749 h 831874"/>
              <a:gd name="connsiteX2" fmla="*/ 1717948 w 3861072"/>
              <a:gd name="connsiteY2" fmla="*/ 518299 h 831874"/>
              <a:gd name="connsiteX3" fmla="*/ 1686198 w 3861072"/>
              <a:gd name="connsiteY3" fmla="*/ 826274 h 831874"/>
              <a:gd name="connsiteX4" fmla="*/ 2165623 w 3861072"/>
              <a:gd name="connsiteY4" fmla="*/ 480199 h 831874"/>
              <a:gd name="connsiteX5" fmla="*/ 3861073 w 3861072"/>
              <a:gd name="connsiteY5" fmla="*/ 318274 h 831874"/>
              <a:gd name="connsiteX0" fmla="*/ 1 w 3781427"/>
              <a:gd name="connsiteY0" fmla="*/ 1 h 523126"/>
              <a:gd name="connsiteX1" fmla="*/ 1638301 w 3781427"/>
              <a:gd name="connsiteY1" fmla="*/ 209551 h 523126"/>
              <a:gd name="connsiteX2" fmla="*/ 1606551 w 3781427"/>
              <a:gd name="connsiteY2" fmla="*/ 517526 h 523126"/>
              <a:gd name="connsiteX3" fmla="*/ 2085976 w 3781427"/>
              <a:gd name="connsiteY3" fmla="*/ 171451 h 523126"/>
              <a:gd name="connsiteX4" fmla="*/ 3781426 w 3781427"/>
              <a:gd name="connsiteY4" fmla="*/ 9526 h 523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1427" h="523126">
                <a:moveTo>
                  <a:pt x="1" y="1"/>
                </a:moveTo>
                <a:cubicBezTo>
                  <a:pt x="157600" y="69715"/>
                  <a:pt x="1370543" y="123297"/>
                  <a:pt x="1638301" y="209551"/>
                </a:cubicBezTo>
                <a:cubicBezTo>
                  <a:pt x="1906059" y="295805"/>
                  <a:pt x="1579564" y="565151"/>
                  <a:pt x="1606551" y="517526"/>
                </a:cubicBezTo>
                <a:cubicBezTo>
                  <a:pt x="1633538" y="469901"/>
                  <a:pt x="1723497" y="256118"/>
                  <a:pt x="2085976" y="171451"/>
                </a:cubicBezTo>
                <a:cubicBezTo>
                  <a:pt x="2448455" y="86784"/>
                  <a:pt x="3496338" y="92605"/>
                  <a:pt x="3781426" y="9526"/>
                </a:cubicBezTo>
              </a:path>
            </a:pathLst>
          </a:custGeom>
          <a:noFill/>
          <a:ln w="19050" cap="rnd">
            <a:solidFill>
              <a:srgbClr val="D22C2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E446A4D6-0DA1-A0B3-79F7-D8E2908933AC}"/>
              </a:ext>
            </a:extLst>
          </p:cNvPr>
          <p:cNvSpPr txBox="1"/>
          <p:nvPr/>
        </p:nvSpPr>
        <p:spPr>
          <a:xfrm>
            <a:off x="5825450" y="1363070"/>
            <a:ext cx="2632750" cy="38953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kern="0"/>
            </a:defPPr>
            <a:lvl1pPr>
              <a:lnSpc>
                <a:spcPct val="130000"/>
              </a:lnSpc>
              <a:defRPr sz="1200" b="1">
                <a:latin typeface="+mn-ea"/>
                <a:ea typeface="+mn-ea"/>
              </a:defRPr>
            </a:lvl1pPr>
          </a:lstStyle>
          <a:p>
            <a:pPr algn="ctr"/>
            <a:r>
              <a:rPr lang="ja-JP" altLang="en-US" sz="1600" dirty="0" smtClean="0">
                <a:solidFill>
                  <a:schemeClr val="accent1"/>
                </a:solidFill>
              </a:rPr>
              <a:t>料理案内ポスター</a:t>
            </a:r>
            <a:endParaRPr lang="en-US" altLang="ja-JP" sz="1600" dirty="0">
              <a:solidFill>
                <a:schemeClr val="accent1"/>
              </a:solidFill>
            </a:endParaRPr>
          </a:p>
        </p:txBody>
      </p:sp>
      <p:pic>
        <p:nvPicPr>
          <p:cNvPr id="5" name="図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752600" y="2013105"/>
            <a:ext cx="1520322" cy="214521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角丸四角形吹き出し 5"/>
          <p:cNvSpPr/>
          <p:nvPr/>
        </p:nvSpPr>
        <p:spPr>
          <a:xfrm>
            <a:off x="-1828800" y="4648200"/>
            <a:ext cx="1447800" cy="1219200"/>
          </a:xfrm>
          <a:prstGeom prst="wedgeRoundRectCallout">
            <a:avLst>
              <a:gd name="adj1" fmla="val 68107"/>
              <a:gd name="adj2" fmla="val 18966"/>
              <a:gd name="adj3" fmla="val 16667"/>
            </a:avLst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dirty="0" smtClean="0"/>
              <a:t>啓発無し</a:t>
            </a:r>
            <a:r>
              <a:rPr kumimoji="1" lang="en-US" altLang="ja-JP" sz="1400" dirty="0" err="1" smtClean="0"/>
              <a:t>Ver</a:t>
            </a:r>
            <a:r>
              <a:rPr kumimoji="1" lang="ja-JP" altLang="en-US" sz="1400" dirty="0" smtClean="0"/>
              <a:t>をご使用の場合は、こちらに変更してください</a:t>
            </a:r>
            <a:endParaRPr kumimoji="1" lang="ja-JP" altLang="en-US" sz="1400" dirty="0"/>
          </a:p>
        </p:txBody>
      </p:sp>
    </p:spTree>
    <p:extLst>
      <p:ext uri="{BB962C8B-B14F-4D97-AF65-F5344CB8AC3E}">
        <p14:creationId xmlns:p14="http://schemas.microsoft.com/office/powerpoint/2010/main" val="538021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デザインの設定">
  <a:themeElements>
    <a:clrScheme name="シダックスコントラクトフードサービス様">
      <a:dk1>
        <a:sysClr val="windowText" lastClr="000000"/>
      </a:dk1>
      <a:lt1>
        <a:sysClr val="window" lastClr="FFFFFF"/>
      </a:lt1>
      <a:dk2>
        <a:srgbClr val="FEE6E6"/>
      </a:dk2>
      <a:lt2>
        <a:srgbClr val="FEF2E2"/>
      </a:lt2>
      <a:accent1>
        <a:srgbClr val="D22C25"/>
      </a:accent1>
      <a:accent2>
        <a:srgbClr val="FEE6E6"/>
      </a:accent2>
      <a:accent3>
        <a:srgbClr val="FEF2E2"/>
      </a:accent3>
      <a:accent4>
        <a:srgbClr val="6DAC2E"/>
      </a:accent4>
      <a:accent5>
        <a:srgbClr val="DAF3C5"/>
      </a:accent5>
      <a:accent6>
        <a:srgbClr val="595959"/>
      </a:accent6>
      <a:hlink>
        <a:srgbClr val="0563C1"/>
      </a:hlink>
      <a:folHlink>
        <a:srgbClr val="954F72"/>
      </a:folHlink>
    </a:clrScheme>
    <a:fontScheme name="シダックスコントラクトフードサービス様">
      <a:majorFont>
        <a:latin typeface="Arial"/>
        <a:ea typeface="游ゴシック"/>
        <a:cs typeface=""/>
      </a:majorFont>
      <a:minorFont>
        <a:latin typeface="Arial"/>
        <a:ea typeface="游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b9de4f5-6a70-492b-b5d7-f671bf91d89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7D73525F4D435E4BAEDBA389134B5BC4" ma:contentTypeVersion="13" ma:contentTypeDescription="新しいドキュメントを作成します。" ma:contentTypeScope="" ma:versionID="16b91ce669a10ca1bdfeb61b74d6ec7d">
  <xsd:schema xmlns:xsd="http://www.w3.org/2001/XMLSchema" xmlns:xs="http://www.w3.org/2001/XMLSchema" xmlns:p="http://schemas.microsoft.com/office/2006/metadata/properties" xmlns:ns3="db9de4f5-6a70-492b-b5d7-f671bf91d89a" xmlns:ns4="b0edcebc-856b-4f48-91e7-b71b8bf101a2" targetNamespace="http://schemas.microsoft.com/office/2006/metadata/properties" ma:root="true" ma:fieldsID="6680efd2b53709ff15e7e68005f371e2" ns3:_="" ns4:_="">
    <xsd:import namespace="db9de4f5-6a70-492b-b5d7-f671bf91d89a"/>
    <xsd:import namespace="b0edcebc-856b-4f48-91e7-b71b8bf101a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3:MediaServiceObjectDetectorVersions" minOccurs="0"/>
                <xsd:element ref="ns3:MediaServiceOCR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9de4f5-6a70-492b-b5d7-f671bf91d89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6" nillable="true" ma:displayName="_activity" ma:hidden="true" ma:internalName="_activity">
      <xsd:simpleType>
        <xsd:restriction base="dms:Note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edcebc-856b-4f48-91e7-b71b8bf101a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共有のヒントのハッシュ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5FFBFC8-2AEF-4581-A767-FF27588CB764}">
  <ds:schemaRefs>
    <ds:schemaRef ds:uri="db9de4f5-6a70-492b-b5d7-f671bf91d89a"/>
    <ds:schemaRef ds:uri="b0edcebc-856b-4f48-91e7-b71b8bf101a2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purl.org/dc/terms/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D4CC0ECC-4D15-4378-B997-563FCB1C194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AE8D29F-2DCA-453F-8C34-9BC09F6D5B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b9de4f5-6a70-492b-b5d7-f671bf91d89a"/>
    <ds:schemaRef ds:uri="b0edcebc-856b-4f48-91e7-b71b8bf101a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48</TotalTime>
  <Words>201</Words>
  <Application>Microsoft Office PowerPoint</Application>
  <PresentationFormat>A4 210 x 297 mm</PresentationFormat>
  <Paragraphs>32</Paragraphs>
  <Slides>4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</vt:i4>
      </vt:variant>
    </vt:vector>
  </HeadingPairs>
  <TitlesOfParts>
    <vt:vector size="10" baseType="lpstr">
      <vt:lpstr>メイリオ</vt:lpstr>
      <vt:lpstr>Yu Gothic</vt:lpstr>
      <vt:lpstr>Yu Gothic</vt:lpstr>
      <vt:lpstr>Arial</vt:lpstr>
      <vt:lpstr>デザインの設定</vt:lpstr>
      <vt:lpstr>think-cell スライド</vt:lpstr>
      <vt:lpstr>PowerPoint プレゼンテーション</vt:lpstr>
      <vt:lpstr>One Spoon Gohan</vt:lpstr>
      <vt:lpstr>One Spoon Gohan</vt:lpstr>
      <vt:lpstr>ポスター掲示について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前半_1104</dc:title>
  <dc:creator>長澤千裕</dc:creator>
  <cp:lastModifiedBy>夫松 遥那</cp:lastModifiedBy>
  <cp:revision>356</cp:revision>
  <cp:lastPrinted>2023-06-28T05:30:58Z</cp:lastPrinted>
  <dcterms:created xsi:type="dcterms:W3CDTF">2022-11-07T02:37:46Z</dcterms:created>
  <dcterms:modified xsi:type="dcterms:W3CDTF">2023-08-21T06:56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11-07T00:00:00Z</vt:filetime>
  </property>
  <property fmtid="{D5CDD505-2E9C-101B-9397-08002B2CF9AE}" pid="3" name="Creator">
    <vt:lpwstr>Adobe Illustrator CC 22.1 (Macintosh)</vt:lpwstr>
  </property>
  <property fmtid="{D5CDD505-2E9C-101B-9397-08002B2CF9AE}" pid="4" name="GTS_PDFXVersion">
    <vt:lpwstr>PDF/X-4</vt:lpwstr>
  </property>
  <property fmtid="{D5CDD505-2E9C-101B-9397-08002B2CF9AE}" pid="5" name="LastSaved">
    <vt:filetime>2022-11-07T00:00:00Z</vt:filetime>
  </property>
  <property fmtid="{D5CDD505-2E9C-101B-9397-08002B2CF9AE}" pid="6" name="Producer">
    <vt:lpwstr>Adobe PDF library 15.00</vt:lpwstr>
  </property>
  <property fmtid="{D5CDD505-2E9C-101B-9397-08002B2CF9AE}" pid="7" name="ContentTypeId">
    <vt:lpwstr>0x0101007D73525F4D435E4BAEDBA389134B5BC4</vt:lpwstr>
  </property>
  <property fmtid="{D5CDD505-2E9C-101B-9397-08002B2CF9AE}" pid="8" name="MediaServiceImageTags">
    <vt:lpwstr/>
  </property>
  <property fmtid="{D5CDD505-2E9C-101B-9397-08002B2CF9AE}" pid="9" name="ComplianceAssetId">
    <vt:lpwstr/>
  </property>
  <property fmtid="{D5CDD505-2E9C-101B-9397-08002B2CF9AE}" pid="10" name="_ExtendedDescription">
    <vt:lpwstr/>
  </property>
  <property fmtid="{D5CDD505-2E9C-101B-9397-08002B2CF9AE}" pid="11" name="TriggerFlowInfo">
    <vt:lpwstr/>
  </property>
</Properties>
</file>